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69" r:id="rId1"/>
    <p:sldMasterId id="2147483681" r:id="rId2"/>
    <p:sldMasterId id="2147483693" r:id="rId3"/>
    <p:sldMasterId id="2147483715" r:id="rId4"/>
  </p:sldMasterIdLst>
  <p:notesMasterIdLst>
    <p:notesMasterId r:id="rId18"/>
  </p:notesMasterIdLst>
  <p:sldIdLst>
    <p:sldId id="282" r:id="rId5"/>
    <p:sldId id="297" r:id="rId6"/>
    <p:sldId id="1120" r:id="rId7"/>
    <p:sldId id="463" r:id="rId8"/>
    <p:sldId id="1115" r:id="rId9"/>
    <p:sldId id="1116" r:id="rId10"/>
    <p:sldId id="1117" r:id="rId11"/>
    <p:sldId id="457" r:id="rId12"/>
    <p:sldId id="258" r:id="rId13"/>
    <p:sldId id="1119" r:id="rId14"/>
    <p:sldId id="459" r:id="rId15"/>
    <p:sldId id="1110" r:id="rId16"/>
    <p:sldId id="277" r:id="rId17"/>
  </p:sldIdLst>
  <p:sldSz cx="12192000" cy="6858000"/>
  <p:notesSz cx="6858000" cy="9144000"/>
  <p:embeddedFontLst>
    <p:embeddedFont>
      <p:font typeface="Arial Nova Cond" panose="020B0506020202020204" pitchFamily="34" charset="0"/>
      <p:regular r:id="rId19"/>
      <p:bold r:id="rId20"/>
      <p:italic r:id="rId21"/>
      <p:boldItalic r:id="rId22"/>
    </p:embeddedFont>
    <p:embeddedFont>
      <p:font typeface="PP Neue Machina Inktrap" panose="020B0604020202020204" charset="0"/>
      <p:regular r:id="rId23"/>
    </p:embeddedFont>
    <p:embeddedFont>
      <p:font typeface="PP Neue Machina Inktrap Light" panose="020B0604020202020204" charset="0"/>
      <p:regular r:id="rId24"/>
    </p:embeddedFont>
    <p:embeddedFont>
      <p:font typeface="PP Neue Machina Plain" panose="020B0604020202020204" charset="0"/>
      <p:regular r:id="rId25"/>
    </p:embeddedFont>
  </p:embeddedFont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E3345E-6A01-46EC-8479-F2C40665D0CA}" v="351" dt="2024-08-12T05:51:20.9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42"/>
    <p:restoredTop sz="94707"/>
  </p:normalViewPr>
  <p:slideViewPr>
    <p:cSldViewPr snapToGrid="0">
      <p:cViewPr varScale="1">
        <p:scale>
          <a:sx n="96" d="100"/>
          <a:sy n="96" d="100"/>
        </p:scale>
        <p:origin x="2620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arit Merla" userId="5cfffc45-8724-4e8f-8661-ad90d644abc6" providerId="ADAL" clId="{A6E3345E-6A01-46EC-8479-F2C40665D0CA}"/>
    <pc:docChg chg="undo redo custSel addSld delSld modSld sldOrd delMainMaster">
      <pc:chgData name="Maarit Merla" userId="5cfffc45-8724-4e8f-8661-ad90d644abc6" providerId="ADAL" clId="{A6E3345E-6A01-46EC-8479-F2C40665D0CA}" dt="2024-08-12T05:53:07.197" v="4362" actId="47"/>
      <pc:docMkLst>
        <pc:docMk/>
      </pc:docMkLst>
      <pc:sldChg chg="modSp del mod">
        <pc:chgData name="Maarit Merla" userId="5cfffc45-8724-4e8f-8661-ad90d644abc6" providerId="ADAL" clId="{A6E3345E-6A01-46EC-8479-F2C40665D0CA}" dt="2024-08-06T11:04:05.026" v="135" actId="47"/>
        <pc:sldMkLst>
          <pc:docMk/>
          <pc:sldMk cId="1588300688" sldId="257"/>
        </pc:sldMkLst>
        <pc:spChg chg="mod">
          <ac:chgData name="Maarit Merla" userId="5cfffc45-8724-4e8f-8661-ad90d644abc6" providerId="ADAL" clId="{A6E3345E-6A01-46EC-8479-F2C40665D0CA}" dt="2024-08-06T11:00:53.514" v="57" actId="6549"/>
          <ac:spMkLst>
            <pc:docMk/>
            <pc:sldMk cId="1588300688" sldId="257"/>
            <ac:spMk id="2" creationId="{B3BE0B78-DFCD-405F-3309-8F6847AFC386}"/>
          </ac:spMkLst>
        </pc:spChg>
        <pc:spChg chg="mod">
          <ac:chgData name="Maarit Merla" userId="5cfffc45-8724-4e8f-8661-ad90d644abc6" providerId="ADAL" clId="{A6E3345E-6A01-46EC-8479-F2C40665D0CA}" dt="2024-08-06T11:00:59.292" v="67" actId="6549"/>
          <ac:spMkLst>
            <pc:docMk/>
            <pc:sldMk cId="1588300688" sldId="257"/>
            <ac:spMk id="3" creationId="{2DE083D7-E8C6-0DF2-836B-78607CC2110B}"/>
          </ac:spMkLst>
        </pc:spChg>
      </pc:sldChg>
      <pc:sldChg chg="modSp mod">
        <pc:chgData name="Maarit Merla" userId="5cfffc45-8724-4e8f-8661-ad90d644abc6" providerId="ADAL" clId="{A6E3345E-6A01-46EC-8479-F2C40665D0CA}" dt="2024-08-12T05:28:52.692" v="3947" actId="1036"/>
        <pc:sldMkLst>
          <pc:docMk/>
          <pc:sldMk cId="1291932969" sldId="258"/>
        </pc:sldMkLst>
        <pc:spChg chg="mod">
          <ac:chgData name="Maarit Merla" userId="5cfffc45-8724-4e8f-8661-ad90d644abc6" providerId="ADAL" clId="{A6E3345E-6A01-46EC-8479-F2C40665D0CA}" dt="2024-08-12T05:28:52.692" v="3947" actId="1036"/>
          <ac:spMkLst>
            <pc:docMk/>
            <pc:sldMk cId="1291932969" sldId="258"/>
            <ac:spMk id="2" creationId="{C8734EC7-9960-7D53-5F11-47064B249D7A}"/>
          </ac:spMkLst>
        </pc:spChg>
      </pc:sldChg>
      <pc:sldChg chg="del">
        <pc:chgData name="Maarit Merla" userId="5cfffc45-8724-4e8f-8661-ad90d644abc6" providerId="ADAL" clId="{A6E3345E-6A01-46EC-8479-F2C40665D0CA}" dt="2024-08-06T12:29:53.086" v="196" actId="47"/>
        <pc:sldMkLst>
          <pc:docMk/>
          <pc:sldMk cId="2697482819" sldId="279"/>
        </pc:sldMkLst>
      </pc:sldChg>
      <pc:sldChg chg="del">
        <pc:chgData name="Maarit Merla" userId="5cfffc45-8724-4e8f-8661-ad90d644abc6" providerId="ADAL" clId="{A6E3345E-6A01-46EC-8479-F2C40665D0CA}" dt="2024-08-06T11:01:47.741" v="69" actId="47"/>
        <pc:sldMkLst>
          <pc:docMk/>
          <pc:sldMk cId="4065642182" sldId="280"/>
        </pc:sldMkLst>
      </pc:sldChg>
      <pc:sldChg chg="addSp delSp modSp mod">
        <pc:chgData name="Maarit Merla" userId="5cfffc45-8724-4e8f-8661-ad90d644abc6" providerId="ADAL" clId="{A6E3345E-6A01-46EC-8479-F2C40665D0CA}" dt="2024-08-12T05:46:38.460" v="4176" actId="1035"/>
        <pc:sldMkLst>
          <pc:docMk/>
          <pc:sldMk cId="2595544854" sldId="282"/>
        </pc:sldMkLst>
        <pc:spChg chg="del">
          <ac:chgData name="Maarit Merla" userId="5cfffc45-8724-4e8f-8661-ad90d644abc6" providerId="ADAL" clId="{A6E3345E-6A01-46EC-8479-F2C40665D0CA}" dt="2024-08-06T11:03:40.616" v="95" actId="478"/>
          <ac:spMkLst>
            <pc:docMk/>
            <pc:sldMk cId="2595544854" sldId="282"/>
            <ac:spMk id="2" creationId="{4DEFE1AB-3663-6AD1-3C4C-D2C9C72B8C9D}"/>
          </ac:spMkLst>
        </pc:spChg>
        <pc:spChg chg="mod">
          <ac:chgData name="Maarit Merla" userId="5cfffc45-8724-4e8f-8661-ad90d644abc6" providerId="ADAL" clId="{A6E3345E-6A01-46EC-8479-F2C40665D0CA}" dt="2024-08-12T05:46:38.460" v="4176" actId="1035"/>
          <ac:spMkLst>
            <pc:docMk/>
            <pc:sldMk cId="2595544854" sldId="282"/>
            <ac:spMk id="3" creationId="{640436F5-C625-0A37-5260-39A8F1B2B026}"/>
          </ac:spMkLst>
        </pc:spChg>
        <pc:spChg chg="add mod">
          <ac:chgData name="Maarit Merla" userId="5cfffc45-8724-4e8f-8661-ad90d644abc6" providerId="ADAL" clId="{A6E3345E-6A01-46EC-8479-F2C40665D0CA}" dt="2024-08-12T05:46:38.460" v="4176" actId="1035"/>
          <ac:spMkLst>
            <pc:docMk/>
            <pc:sldMk cId="2595544854" sldId="282"/>
            <ac:spMk id="4" creationId="{9EC26CD9-1E92-0D52-FE23-BDA282C26279}"/>
          </ac:spMkLst>
        </pc:spChg>
      </pc:sldChg>
      <pc:sldChg chg="addSp delSp modSp del mod ord">
        <pc:chgData name="Maarit Merla" userId="5cfffc45-8724-4e8f-8661-ad90d644abc6" providerId="ADAL" clId="{A6E3345E-6A01-46EC-8479-F2C40665D0CA}" dt="2024-08-07T11:14:29.789" v="333" actId="47"/>
        <pc:sldMkLst>
          <pc:docMk/>
          <pc:sldMk cId="1449618382" sldId="287"/>
        </pc:sldMkLst>
        <pc:spChg chg="add del">
          <ac:chgData name="Maarit Merla" userId="5cfffc45-8724-4e8f-8661-ad90d644abc6" providerId="ADAL" clId="{A6E3345E-6A01-46EC-8479-F2C40665D0CA}" dt="2024-08-06T11:09:57.029" v="160" actId="478"/>
          <ac:spMkLst>
            <pc:docMk/>
            <pc:sldMk cId="1449618382" sldId="287"/>
            <ac:spMk id="2" creationId="{470B16D1-B6ED-3E3B-82FF-5790BCD04111}"/>
          </ac:spMkLst>
        </pc:spChg>
        <pc:spChg chg="add del">
          <ac:chgData name="Maarit Merla" userId="5cfffc45-8724-4e8f-8661-ad90d644abc6" providerId="ADAL" clId="{A6E3345E-6A01-46EC-8479-F2C40665D0CA}" dt="2024-08-06T11:09:56.414" v="159" actId="478"/>
          <ac:spMkLst>
            <pc:docMk/>
            <pc:sldMk cId="1449618382" sldId="287"/>
            <ac:spMk id="3" creationId="{768E6948-D6DD-2006-40A1-16A5A8094FF2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4" creationId="{1D7194D8-CDEF-48D1-4C1B-4E54C2FFD84C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5" creationId="{F91D6713-BBC2-5404-B740-A36606E46CE8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7" creationId="{13453B49-2E97-9F57-50B6-9D6445649CBC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8" creationId="{2964F992-17F1-507D-71A2-E550433A229B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9" creationId="{A4DE858A-FECB-CA72-407B-7AFE9E50CB4B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10" creationId="{18B36A65-7F99-2D77-1FF8-53AA0890F814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11" creationId="{1DB8AAC1-43F1-48D0-AD4F-94D41013258B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12" creationId="{74A06BB9-6217-C1A3-407E-9BF239D709F5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13" creationId="{FFE1F148-0C21-C6E0-85D3-E28731DBD658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14" creationId="{A0F14AF2-1C84-E433-50BD-A9646A0D1AD6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20" creationId="{75B6D38D-886D-E421-9E41-3F76DFC6ACB4}"/>
          </ac:spMkLst>
        </pc:spChg>
        <pc:spChg chg="add mod">
          <ac:chgData name="Maarit Merla" userId="5cfffc45-8724-4e8f-8661-ad90d644abc6" providerId="ADAL" clId="{A6E3345E-6A01-46EC-8479-F2C40665D0CA}" dt="2024-08-06T11:09:30.292" v="156"/>
          <ac:spMkLst>
            <pc:docMk/>
            <pc:sldMk cId="1449618382" sldId="287"/>
            <ac:spMk id="21" creationId="{F895AB25-4BC8-EA94-5C05-E9A587D5D6CF}"/>
          </ac:spMkLst>
        </pc:spChg>
        <pc:picChg chg="add mod">
          <ac:chgData name="Maarit Merla" userId="5cfffc45-8724-4e8f-8661-ad90d644abc6" providerId="ADAL" clId="{A6E3345E-6A01-46EC-8479-F2C40665D0CA}" dt="2024-08-06T11:09:30.292" v="156"/>
          <ac:picMkLst>
            <pc:docMk/>
            <pc:sldMk cId="1449618382" sldId="287"/>
            <ac:picMk id="6" creationId="{12866B94-7007-4678-DBA4-399A928BA826}"/>
          </ac:picMkLst>
        </pc:picChg>
        <pc:picChg chg="add mod">
          <ac:chgData name="Maarit Merla" userId="5cfffc45-8724-4e8f-8661-ad90d644abc6" providerId="ADAL" clId="{A6E3345E-6A01-46EC-8479-F2C40665D0CA}" dt="2024-08-06T11:09:30.292" v="156"/>
          <ac:picMkLst>
            <pc:docMk/>
            <pc:sldMk cId="1449618382" sldId="287"/>
            <ac:picMk id="15" creationId="{34F094EA-1BCE-D84C-A38B-5A0E975591A8}"/>
          </ac:picMkLst>
        </pc:picChg>
        <pc:picChg chg="add mod">
          <ac:chgData name="Maarit Merla" userId="5cfffc45-8724-4e8f-8661-ad90d644abc6" providerId="ADAL" clId="{A6E3345E-6A01-46EC-8479-F2C40665D0CA}" dt="2024-08-06T11:09:30.292" v="156"/>
          <ac:picMkLst>
            <pc:docMk/>
            <pc:sldMk cId="1449618382" sldId="287"/>
            <ac:picMk id="16" creationId="{5EE5F480-262B-FD80-670D-C26EC0D78C8C}"/>
          </ac:picMkLst>
        </pc:picChg>
        <pc:picChg chg="add mod">
          <ac:chgData name="Maarit Merla" userId="5cfffc45-8724-4e8f-8661-ad90d644abc6" providerId="ADAL" clId="{A6E3345E-6A01-46EC-8479-F2C40665D0CA}" dt="2024-08-06T11:09:30.292" v="156"/>
          <ac:picMkLst>
            <pc:docMk/>
            <pc:sldMk cId="1449618382" sldId="287"/>
            <ac:picMk id="17" creationId="{4AE9812D-B1CE-B56D-ABEF-284382D31E33}"/>
          </ac:picMkLst>
        </pc:picChg>
        <pc:picChg chg="add mod">
          <ac:chgData name="Maarit Merla" userId="5cfffc45-8724-4e8f-8661-ad90d644abc6" providerId="ADAL" clId="{A6E3345E-6A01-46EC-8479-F2C40665D0CA}" dt="2024-08-06T11:09:30.292" v="156"/>
          <ac:picMkLst>
            <pc:docMk/>
            <pc:sldMk cId="1449618382" sldId="287"/>
            <ac:picMk id="18" creationId="{0637C119-B994-622B-212C-A0739A713BDE}"/>
          </ac:picMkLst>
        </pc:picChg>
        <pc:picChg chg="add mod">
          <ac:chgData name="Maarit Merla" userId="5cfffc45-8724-4e8f-8661-ad90d644abc6" providerId="ADAL" clId="{A6E3345E-6A01-46EC-8479-F2C40665D0CA}" dt="2024-08-06T11:09:30.292" v="156"/>
          <ac:picMkLst>
            <pc:docMk/>
            <pc:sldMk cId="1449618382" sldId="287"/>
            <ac:picMk id="19" creationId="{6393E12D-1ADA-B817-053A-02C20C73307B}"/>
          </ac:picMkLst>
        </pc:picChg>
      </pc:sldChg>
      <pc:sldChg chg="addSp delSp modSp mod ord">
        <pc:chgData name="Maarit Merla" userId="5cfffc45-8724-4e8f-8661-ad90d644abc6" providerId="ADAL" clId="{A6E3345E-6A01-46EC-8479-F2C40665D0CA}" dt="2024-08-12T05:27:35.188" v="3893" actId="20577"/>
        <pc:sldMkLst>
          <pc:docMk/>
          <pc:sldMk cId="711954792" sldId="297"/>
        </pc:sldMkLst>
        <pc:spChg chg="del">
          <ac:chgData name="Maarit Merla" userId="5cfffc45-8724-4e8f-8661-ad90d644abc6" providerId="ADAL" clId="{A6E3345E-6A01-46EC-8479-F2C40665D0CA}" dt="2024-08-06T11:06:47.512" v="142" actId="478"/>
          <ac:spMkLst>
            <pc:docMk/>
            <pc:sldMk cId="711954792" sldId="297"/>
            <ac:spMk id="2" creationId="{3910EEC6-A0FE-84E1-9B09-5268BF38B851}"/>
          </ac:spMkLst>
        </pc:spChg>
        <pc:spChg chg="del">
          <ac:chgData name="Maarit Merla" userId="5cfffc45-8724-4e8f-8661-ad90d644abc6" providerId="ADAL" clId="{A6E3345E-6A01-46EC-8479-F2C40665D0CA}" dt="2024-08-06T11:06:38.926" v="139"/>
          <ac:spMkLst>
            <pc:docMk/>
            <pc:sldMk cId="711954792" sldId="297"/>
            <ac:spMk id="3" creationId="{7B58E3F9-1023-BEDA-6F31-5D89A7F99794}"/>
          </ac:spMkLst>
        </pc:spChg>
        <pc:spChg chg="add mod">
          <ac:chgData name="Maarit Merla" userId="5cfffc45-8724-4e8f-8661-ad90d644abc6" providerId="ADAL" clId="{A6E3345E-6A01-46EC-8479-F2C40665D0CA}" dt="2024-08-12T05:27:35.188" v="3893" actId="20577"/>
          <ac:spMkLst>
            <pc:docMk/>
            <pc:sldMk cId="711954792" sldId="297"/>
            <ac:spMk id="4" creationId="{4B9C796E-6B5C-97FB-4E26-5A919C846C1C}"/>
          </ac:spMkLst>
        </pc:spChg>
        <pc:spChg chg="add del mod">
          <ac:chgData name="Maarit Merla" userId="5cfffc45-8724-4e8f-8661-ad90d644abc6" providerId="ADAL" clId="{A6E3345E-6A01-46EC-8479-F2C40665D0CA}" dt="2024-08-06T11:10:40.954" v="165" actId="478"/>
          <ac:spMkLst>
            <pc:docMk/>
            <pc:sldMk cId="711954792" sldId="297"/>
            <ac:spMk id="5" creationId="{A31B28DA-0ABC-6025-9245-EB796F3E8881}"/>
          </ac:spMkLst>
        </pc:spChg>
        <pc:spChg chg="add del mod topLvl">
          <ac:chgData name="Maarit Merla" userId="5cfffc45-8724-4e8f-8661-ad90d644abc6" providerId="ADAL" clId="{A6E3345E-6A01-46EC-8479-F2C40665D0CA}" dt="2024-08-06T12:26:21.285" v="175" actId="478"/>
          <ac:spMkLst>
            <pc:docMk/>
            <pc:sldMk cId="711954792" sldId="297"/>
            <ac:spMk id="7" creationId="{838CF738-87AB-A414-6055-26EA73FA26F0}"/>
          </ac:spMkLst>
        </pc:spChg>
        <pc:spChg chg="add del mod topLvl">
          <ac:chgData name="Maarit Merla" userId="5cfffc45-8724-4e8f-8661-ad90d644abc6" providerId="ADAL" clId="{A6E3345E-6A01-46EC-8479-F2C40665D0CA}" dt="2024-08-06T12:26:19.526" v="174" actId="478"/>
          <ac:spMkLst>
            <pc:docMk/>
            <pc:sldMk cId="711954792" sldId="297"/>
            <ac:spMk id="8" creationId="{C7BA45EF-1A3F-E1A5-B082-4E55C28C3AE3}"/>
          </ac:spMkLst>
        </pc:spChg>
        <pc:spChg chg="add mod">
          <ac:chgData name="Maarit Merla" userId="5cfffc45-8724-4e8f-8661-ad90d644abc6" providerId="ADAL" clId="{A6E3345E-6A01-46EC-8479-F2C40665D0CA}" dt="2024-08-12T05:12:44.242" v="3504" actId="692"/>
          <ac:spMkLst>
            <pc:docMk/>
            <pc:sldMk cId="711954792" sldId="297"/>
            <ac:spMk id="10" creationId="{07A007B3-C0BE-D85A-8F89-1A2A979DC13B}"/>
          </ac:spMkLst>
        </pc:spChg>
        <pc:grpChg chg="add del mod">
          <ac:chgData name="Maarit Merla" userId="5cfffc45-8724-4e8f-8661-ad90d644abc6" providerId="ADAL" clId="{A6E3345E-6A01-46EC-8479-F2C40665D0CA}" dt="2024-08-06T12:26:19.526" v="174" actId="478"/>
          <ac:grpSpMkLst>
            <pc:docMk/>
            <pc:sldMk cId="711954792" sldId="297"/>
            <ac:grpSpMk id="6" creationId="{D13382EA-448D-933B-809C-6BC1073D4EC3}"/>
          </ac:grpSpMkLst>
        </pc:grpChg>
        <pc:picChg chg="add del mod modCrop">
          <ac:chgData name="Maarit Merla" userId="5cfffc45-8724-4e8f-8661-ad90d644abc6" providerId="ADAL" clId="{A6E3345E-6A01-46EC-8479-F2C40665D0CA}" dt="2024-08-06T12:36:59.571" v="226" actId="478"/>
          <ac:picMkLst>
            <pc:docMk/>
            <pc:sldMk cId="711954792" sldId="297"/>
            <ac:picMk id="9" creationId="{B30F5D4B-8C4D-734F-8E10-61EB9E04D361}"/>
          </ac:picMkLst>
        </pc:picChg>
        <pc:picChg chg="add mod modCrop">
          <ac:chgData name="Maarit Merla" userId="5cfffc45-8724-4e8f-8661-ad90d644abc6" providerId="ADAL" clId="{A6E3345E-6A01-46EC-8479-F2C40665D0CA}" dt="2024-08-12T05:11:41.913" v="3484" actId="732"/>
          <ac:picMkLst>
            <pc:docMk/>
            <pc:sldMk cId="711954792" sldId="297"/>
            <ac:picMk id="11" creationId="{3EE45D58-17C8-4020-13B4-470C165E3F96}"/>
          </ac:picMkLst>
        </pc:picChg>
      </pc:sldChg>
      <pc:sldChg chg="del ord">
        <pc:chgData name="Maarit Merla" userId="5cfffc45-8724-4e8f-8661-ad90d644abc6" providerId="ADAL" clId="{A6E3345E-6A01-46EC-8479-F2C40665D0CA}" dt="2024-08-07T13:23:36.605" v="3370" actId="47"/>
        <pc:sldMkLst>
          <pc:docMk/>
          <pc:sldMk cId="3929615319" sldId="458"/>
        </pc:sldMkLst>
      </pc:sldChg>
      <pc:sldChg chg="addSp delSp modSp mod modClrScheme chgLayout">
        <pc:chgData name="Maarit Merla" userId="5cfffc45-8724-4e8f-8661-ad90d644abc6" providerId="ADAL" clId="{A6E3345E-6A01-46EC-8479-F2C40665D0CA}" dt="2024-08-12T05:45:04.435" v="4135" actId="20577"/>
        <pc:sldMkLst>
          <pc:docMk/>
          <pc:sldMk cId="1068795637" sldId="459"/>
        </pc:sldMkLst>
        <pc:spChg chg="mod ord">
          <ac:chgData name="Maarit Merla" userId="5cfffc45-8724-4e8f-8661-ad90d644abc6" providerId="ADAL" clId="{A6E3345E-6A01-46EC-8479-F2C40665D0CA}" dt="2024-08-12T05:26:57.273" v="3887" actId="1076"/>
          <ac:spMkLst>
            <pc:docMk/>
            <pc:sldMk cId="1068795637" sldId="459"/>
            <ac:spMk id="10" creationId="{DB295499-3265-4623-DCC6-4C2A9A4C6CDE}"/>
          </ac:spMkLst>
        </pc:spChg>
        <pc:spChg chg="mod ord">
          <ac:chgData name="Maarit Merla" userId="5cfffc45-8724-4e8f-8661-ad90d644abc6" providerId="ADAL" clId="{A6E3345E-6A01-46EC-8479-F2C40665D0CA}" dt="2024-08-12T05:45:04.435" v="4135" actId="20577"/>
          <ac:spMkLst>
            <pc:docMk/>
            <pc:sldMk cId="1068795637" sldId="459"/>
            <ac:spMk id="12" creationId="{A9545280-5A3D-5DE9-3591-E65D60F81C10}"/>
          </ac:spMkLst>
        </pc:spChg>
        <pc:picChg chg="add del mod">
          <ac:chgData name="Maarit Merla" userId="5cfffc45-8724-4e8f-8661-ad90d644abc6" providerId="ADAL" clId="{A6E3345E-6A01-46EC-8479-F2C40665D0CA}" dt="2024-08-07T11:35:25.429" v="1064" actId="478"/>
          <ac:picMkLst>
            <pc:docMk/>
            <pc:sldMk cId="1068795637" sldId="459"/>
            <ac:picMk id="3" creationId="{6051E970-CAD2-5E74-AC84-DDB398C5337F}"/>
          </ac:picMkLst>
        </pc:picChg>
      </pc:sldChg>
      <pc:sldChg chg="modSp ord">
        <pc:chgData name="Maarit Merla" userId="5cfffc45-8724-4e8f-8661-ad90d644abc6" providerId="ADAL" clId="{A6E3345E-6A01-46EC-8479-F2C40665D0CA}" dt="2024-08-07T11:24:54.866" v="735" actId="20577"/>
        <pc:sldMkLst>
          <pc:docMk/>
          <pc:sldMk cId="365670696" sldId="463"/>
        </pc:sldMkLst>
        <pc:graphicFrameChg chg="mod">
          <ac:chgData name="Maarit Merla" userId="5cfffc45-8724-4e8f-8661-ad90d644abc6" providerId="ADAL" clId="{A6E3345E-6A01-46EC-8479-F2C40665D0CA}" dt="2024-08-07T11:24:54.866" v="735" actId="20577"/>
          <ac:graphicFrameMkLst>
            <pc:docMk/>
            <pc:sldMk cId="365670696" sldId="463"/>
            <ac:graphicFrameMk id="6" creationId="{84DC4FB7-B0C3-D6E8-9520-0EEC79FB9986}"/>
          </ac:graphicFrameMkLst>
        </pc:graphicFrameChg>
      </pc:sldChg>
      <pc:sldChg chg="addSp delSp modSp del mod setBg setClrOvrMap">
        <pc:chgData name="Maarit Merla" userId="5cfffc45-8724-4e8f-8661-ad90d644abc6" providerId="ADAL" clId="{A6E3345E-6A01-46EC-8479-F2C40665D0CA}" dt="2024-08-07T11:32:13.654" v="898" actId="47"/>
        <pc:sldMkLst>
          <pc:docMk/>
          <pc:sldMk cId="630275929" sldId="1109"/>
        </pc:sldMkLst>
        <pc:spChg chg="mod ord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54" creationId="{00000000-0000-0000-0000-000000000000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56" creationId="{8DF8AE6E-38CD-4B2A-8E02-F099DD30EF40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57" creationId="{23293907-0F26-4752-BCD0-3AC2C5026383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58" creationId="{1E32D174-F8A9-4FF0-8888-1B4F5E184961}"/>
          </ac:spMkLst>
        </pc:spChg>
        <pc:spChg chg="add del">
          <ac:chgData name="Maarit Merla" userId="5cfffc45-8724-4e8f-8661-ad90d644abc6" providerId="ADAL" clId="{A6E3345E-6A01-46EC-8479-F2C40665D0CA}" dt="2024-08-07T11:28:01.508" v="869" actId="26606"/>
          <ac:spMkLst>
            <pc:docMk/>
            <pc:sldMk cId="630275929" sldId="1109"/>
            <ac:spMk id="259" creationId="{891401DC-7AF6-42FA-BE31-CF773B6C8B2E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60" creationId="{769201C5-687E-46FB-BA72-23BA40BFEE1E}"/>
          </ac:spMkLst>
        </pc:spChg>
        <pc:spChg chg="add del">
          <ac:chgData name="Maarit Merla" userId="5cfffc45-8724-4e8f-8661-ad90d644abc6" providerId="ADAL" clId="{A6E3345E-6A01-46EC-8479-F2C40665D0CA}" dt="2024-08-07T11:28:01.508" v="869" actId="26606"/>
          <ac:spMkLst>
            <pc:docMk/>
            <pc:sldMk cId="630275929" sldId="1109"/>
            <ac:spMk id="261" creationId="{2B7203F0-D9CB-4774-B9D4-B3AB625DFBAD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62" creationId="{339141A8-FDFD-4ABE-A499-72C9669F4BE6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64" creationId="{8A439E11-755A-4258-859D-56A6B6AFCB66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71" creationId="{E916EF49-F958-4F28-A999-F8FA8D09AF86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73" creationId="{A7665D74-DFEA-412C-928C-F090E67084F3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75" creationId="{3E84BD56-679D-4E0C-9C9B-D694ABF07373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77" creationId="{2335FEDF-EF88-4E68-9CF7-5A72EF32AFC2}"/>
          </ac:spMkLst>
        </pc:spChg>
        <pc:spChg chg="add del">
          <ac:chgData name="Maarit Merla" userId="5cfffc45-8724-4e8f-8661-ad90d644abc6" providerId="ADAL" clId="{A6E3345E-6A01-46EC-8479-F2C40665D0CA}" dt="2024-08-07T11:28:07.293" v="871" actId="26606"/>
          <ac:spMkLst>
            <pc:docMk/>
            <pc:sldMk cId="630275929" sldId="1109"/>
            <ac:spMk id="279" creationId="{837A7BE2-DF08-4ECE-A520-13927DBF4C5E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81" creationId="{3A45B268-BBDB-4EC6-A664-CED7BF60D20D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82" creationId="{07977D39-626F-40D7-B00F-16E02602DD5A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83" creationId="{B78B55DD-3C55-4B94-9031-4F3723BD43EA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84" creationId="{B905CDE4-B751-4B3E-B625-6E59F8903414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85" creationId="{42D9BB05-ED63-4148-87AB-82720ACC335C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86" creationId="{CDC29AC1-2821-4FCC-B597-88DAF39C36FE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87" creationId="{5B00B48C-8AA7-4128-AD60-76349F0CEC58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88" creationId="{08108C16-F4C0-44AA-999D-17BD39219B24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89" creationId="{0760511E-86BF-4340-9949-CECB774FAC36}"/>
          </ac:spMkLst>
        </pc:spChg>
        <pc:spChg chg="add del">
          <ac:chgData name="Maarit Merla" userId="5cfffc45-8724-4e8f-8661-ad90d644abc6" providerId="ADAL" clId="{A6E3345E-6A01-46EC-8479-F2C40665D0CA}" dt="2024-08-07T11:28:15.287" v="873" actId="26606"/>
          <ac:spMkLst>
            <pc:docMk/>
            <pc:sldMk cId="630275929" sldId="1109"/>
            <ac:spMk id="290" creationId="{C8F10CB3-3B5E-4C7A-98CF-B87454DDFA39}"/>
          </ac:spMkLst>
        </pc:spChg>
        <pc:graphicFrameChg chg="mod ord modGraphic">
          <ac:chgData name="Maarit Merla" userId="5cfffc45-8724-4e8f-8661-ad90d644abc6" providerId="ADAL" clId="{A6E3345E-6A01-46EC-8479-F2C40665D0CA}" dt="2024-08-07T11:28:59.185" v="875" actId="478"/>
          <ac:graphicFrameMkLst>
            <pc:docMk/>
            <pc:sldMk cId="630275929" sldId="1109"/>
            <ac:graphicFrameMk id="4" creationId="{7C05E4DF-0C3B-842C-9ED1-9C6F0C87E80C}"/>
          </ac:graphicFrameMkLst>
        </pc:graphicFrameChg>
        <pc:picChg chg="mod ord">
          <ac:chgData name="Maarit Merla" userId="5cfffc45-8724-4e8f-8661-ad90d644abc6" providerId="ADAL" clId="{A6E3345E-6A01-46EC-8479-F2C40665D0CA}" dt="2024-08-07T11:28:15.287" v="873" actId="26606"/>
          <ac:picMkLst>
            <pc:docMk/>
            <pc:sldMk cId="630275929" sldId="1109"/>
            <ac:picMk id="3" creationId="{88DD8351-2906-A3F0-91F9-48A2A8C03A19}"/>
          </ac:picMkLst>
        </pc:picChg>
        <pc:picChg chg="mod ord">
          <ac:chgData name="Maarit Merla" userId="5cfffc45-8724-4e8f-8661-ad90d644abc6" providerId="ADAL" clId="{A6E3345E-6A01-46EC-8479-F2C40665D0CA}" dt="2024-08-07T11:28:15.287" v="873" actId="26606"/>
          <ac:picMkLst>
            <pc:docMk/>
            <pc:sldMk cId="630275929" sldId="1109"/>
            <ac:picMk id="11" creationId="{DFE982E7-1801-CB27-4CFC-119460F7B1A4}"/>
          </ac:picMkLst>
        </pc:picChg>
        <pc:picChg chg="mod ord">
          <ac:chgData name="Maarit Merla" userId="5cfffc45-8724-4e8f-8661-ad90d644abc6" providerId="ADAL" clId="{A6E3345E-6A01-46EC-8479-F2C40665D0CA}" dt="2024-08-07T11:28:15.287" v="873" actId="26606"/>
          <ac:picMkLst>
            <pc:docMk/>
            <pc:sldMk cId="630275929" sldId="1109"/>
            <ac:picMk id="15" creationId="{553ED249-A721-DC50-FFBC-F6E61A43CBA3}"/>
          </ac:picMkLst>
        </pc:picChg>
        <pc:picChg chg="mod ord">
          <ac:chgData name="Maarit Merla" userId="5cfffc45-8724-4e8f-8661-ad90d644abc6" providerId="ADAL" clId="{A6E3345E-6A01-46EC-8479-F2C40665D0CA}" dt="2024-08-07T11:28:15.287" v="873" actId="26606"/>
          <ac:picMkLst>
            <pc:docMk/>
            <pc:sldMk cId="630275929" sldId="1109"/>
            <ac:picMk id="17" creationId="{95B0639F-5A3A-4701-5537-69F669E61C37}"/>
          </ac:picMkLst>
        </pc:picChg>
        <pc:picChg chg="mod">
          <ac:chgData name="Maarit Merla" userId="5cfffc45-8724-4e8f-8661-ad90d644abc6" providerId="ADAL" clId="{A6E3345E-6A01-46EC-8479-F2C40665D0CA}" dt="2024-08-07T11:28:15.287" v="873" actId="26606"/>
          <ac:picMkLst>
            <pc:docMk/>
            <pc:sldMk cId="630275929" sldId="1109"/>
            <ac:picMk id="19" creationId="{0170C8AE-CE1F-FDF2-A06D-9B56329CF2F0}"/>
          </ac:picMkLst>
        </pc:picChg>
        <pc:cxnChg chg="add del">
          <ac:chgData name="Maarit Merla" userId="5cfffc45-8724-4e8f-8661-ad90d644abc6" providerId="ADAL" clId="{A6E3345E-6A01-46EC-8479-F2C40665D0CA}" dt="2024-08-07T11:28:01.508" v="869" actId="26606"/>
          <ac:cxnSpMkLst>
            <pc:docMk/>
            <pc:sldMk cId="630275929" sldId="1109"/>
            <ac:cxnSpMk id="263" creationId="{A88CB8AF-5631-45C6-BFEC-971C4D6E5836}"/>
          </ac:cxnSpMkLst>
        </pc:cxnChg>
        <pc:cxnChg chg="add del">
          <ac:chgData name="Maarit Merla" userId="5cfffc45-8724-4e8f-8661-ad90d644abc6" providerId="ADAL" clId="{A6E3345E-6A01-46EC-8479-F2C40665D0CA}" dt="2024-08-07T11:28:01.508" v="869" actId="26606"/>
          <ac:cxnSpMkLst>
            <pc:docMk/>
            <pc:sldMk cId="630275929" sldId="1109"/>
            <ac:cxnSpMk id="265" creationId="{9F2EA1AF-73AB-4FCB-B4EE-0E42E7250F64}"/>
          </ac:cxnSpMkLst>
        </pc:cxnChg>
        <pc:cxnChg chg="add del">
          <ac:chgData name="Maarit Merla" userId="5cfffc45-8724-4e8f-8661-ad90d644abc6" providerId="ADAL" clId="{A6E3345E-6A01-46EC-8479-F2C40665D0CA}" dt="2024-08-07T11:28:01.508" v="869" actId="26606"/>
          <ac:cxnSpMkLst>
            <pc:docMk/>
            <pc:sldMk cId="630275929" sldId="1109"/>
            <ac:cxnSpMk id="267" creationId="{65A18FBF-6157-4210-BEF2-9A6C31FA89AD}"/>
          </ac:cxnSpMkLst>
        </pc:cxnChg>
        <pc:cxnChg chg="add del">
          <ac:chgData name="Maarit Merla" userId="5cfffc45-8724-4e8f-8661-ad90d644abc6" providerId="ADAL" clId="{A6E3345E-6A01-46EC-8479-F2C40665D0CA}" dt="2024-08-07T11:28:01.508" v="869" actId="26606"/>
          <ac:cxnSpMkLst>
            <pc:docMk/>
            <pc:sldMk cId="630275929" sldId="1109"/>
            <ac:cxnSpMk id="269" creationId="{43C9CCA8-3CEC-4CD0-A624-A701C612511D}"/>
          </ac:cxnSpMkLst>
        </pc:cxnChg>
      </pc:sldChg>
      <pc:sldChg chg="del ord">
        <pc:chgData name="Maarit Merla" userId="5cfffc45-8724-4e8f-8661-ad90d644abc6" providerId="ADAL" clId="{A6E3345E-6A01-46EC-8479-F2C40665D0CA}" dt="2024-08-06T12:29:56.062" v="197" actId="47"/>
        <pc:sldMkLst>
          <pc:docMk/>
          <pc:sldMk cId="496851073" sldId="1110"/>
        </pc:sldMkLst>
      </pc:sldChg>
      <pc:sldChg chg="del">
        <pc:chgData name="Maarit Merla" userId="5cfffc45-8724-4e8f-8661-ad90d644abc6" providerId="ADAL" clId="{A6E3345E-6A01-46EC-8479-F2C40665D0CA}" dt="2024-08-06T12:31:08.606" v="204" actId="47"/>
        <pc:sldMkLst>
          <pc:docMk/>
          <pc:sldMk cId="3623517070" sldId="1111"/>
        </pc:sldMkLst>
      </pc:sldChg>
      <pc:sldChg chg="addSp delSp modSp del mod ord">
        <pc:chgData name="Maarit Merla" userId="5cfffc45-8724-4e8f-8661-ad90d644abc6" providerId="ADAL" clId="{A6E3345E-6A01-46EC-8479-F2C40665D0CA}" dt="2024-08-07T11:14:09.116" v="332" actId="47"/>
        <pc:sldMkLst>
          <pc:docMk/>
          <pc:sldMk cId="1258353562" sldId="1112"/>
        </pc:sldMkLst>
        <pc:spChg chg="add del mod">
          <ac:chgData name="Maarit Merla" userId="5cfffc45-8724-4e8f-8661-ad90d644abc6" providerId="ADAL" clId="{A6E3345E-6A01-46EC-8479-F2C40665D0CA}" dt="2024-08-06T11:08:39.515" v="153" actId="478"/>
          <ac:spMkLst>
            <pc:docMk/>
            <pc:sldMk cId="1258353562" sldId="1112"/>
            <ac:spMk id="3" creationId="{7742152E-5293-6F99-8D54-9A74E317B001}"/>
          </ac:spMkLst>
        </pc:spChg>
        <pc:spChg chg="del">
          <ac:chgData name="Maarit Merla" userId="5cfffc45-8724-4e8f-8661-ad90d644abc6" providerId="ADAL" clId="{A6E3345E-6A01-46EC-8479-F2C40665D0CA}" dt="2024-08-06T11:08:32.596" v="152" actId="478"/>
          <ac:spMkLst>
            <pc:docMk/>
            <pc:sldMk cId="1258353562" sldId="1112"/>
            <ac:spMk id="26" creationId="{EDF75927-593D-E0FB-B0BC-DBCF8CEE9867}"/>
          </ac:spMkLst>
        </pc:spChg>
      </pc:sldChg>
      <pc:sldChg chg="add del">
        <pc:chgData name="Maarit Merla" userId="5cfffc45-8724-4e8f-8661-ad90d644abc6" providerId="ADAL" clId="{A6E3345E-6A01-46EC-8479-F2C40665D0CA}" dt="2024-08-06T11:07:34.997" v="147" actId="47"/>
        <pc:sldMkLst>
          <pc:docMk/>
          <pc:sldMk cId="1296514319" sldId="1112"/>
        </pc:sldMkLst>
      </pc:sldChg>
      <pc:sldChg chg="addSp delSp modSp add del mod">
        <pc:chgData name="Maarit Merla" userId="5cfffc45-8724-4e8f-8661-ad90d644abc6" providerId="ADAL" clId="{A6E3345E-6A01-46EC-8479-F2C40665D0CA}" dt="2024-08-06T11:04:03.203" v="134" actId="47"/>
        <pc:sldMkLst>
          <pc:docMk/>
          <pc:sldMk cId="3821165262" sldId="1112"/>
        </pc:sldMkLst>
        <pc:spChg chg="del">
          <ac:chgData name="Maarit Merla" userId="5cfffc45-8724-4e8f-8661-ad90d644abc6" providerId="ADAL" clId="{A6E3345E-6A01-46EC-8479-F2C40665D0CA}" dt="2024-08-06T11:01:56.156" v="70"/>
          <ac:spMkLst>
            <pc:docMk/>
            <pc:sldMk cId="3821165262" sldId="1112"/>
            <ac:spMk id="2" creationId="{D7B94179-276F-50D6-371D-0C23C9CDA00A}"/>
          </ac:spMkLst>
        </pc:spChg>
        <pc:spChg chg="mod">
          <ac:chgData name="Maarit Merla" userId="5cfffc45-8724-4e8f-8661-ad90d644abc6" providerId="ADAL" clId="{A6E3345E-6A01-46EC-8479-F2C40665D0CA}" dt="2024-08-06T11:02:08.900" v="88" actId="20577"/>
          <ac:spMkLst>
            <pc:docMk/>
            <pc:sldMk cId="3821165262" sldId="1112"/>
            <ac:spMk id="3" creationId="{6A2F10F8-3741-7A6F-68F6-E0A57DDA881D}"/>
          </ac:spMkLst>
        </pc:spChg>
        <pc:spChg chg="add mod">
          <ac:chgData name="Maarit Merla" userId="5cfffc45-8724-4e8f-8661-ad90d644abc6" providerId="ADAL" clId="{A6E3345E-6A01-46EC-8479-F2C40665D0CA}" dt="2024-08-06T11:02:26.448" v="92" actId="14100"/>
          <ac:spMkLst>
            <pc:docMk/>
            <pc:sldMk cId="3821165262" sldId="1112"/>
            <ac:spMk id="4" creationId="{7A02CBD5-30BC-2925-84D7-D05D4D2AD4B6}"/>
          </ac:spMkLst>
        </pc:spChg>
      </pc:sldChg>
      <pc:sldChg chg="addSp delSp modSp new add del mod ord">
        <pc:chgData name="Maarit Merla" userId="5cfffc45-8724-4e8f-8661-ad90d644abc6" providerId="ADAL" clId="{A6E3345E-6A01-46EC-8479-F2C40665D0CA}" dt="2024-08-12T05:53:07.197" v="4362" actId="47"/>
        <pc:sldMkLst>
          <pc:docMk/>
          <pc:sldMk cId="2430831717" sldId="1113"/>
        </pc:sldMkLst>
        <pc:spChg chg="del">
          <ac:chgData name="Maarit Merla" userId="5cfffc45-8724-4e8f-8661-ad90d644abc6" providerId="ADAL" clId="{A6E3345E-6A01-46EC-8479-F2C40665D0CA}" dt="2024-08-07T11:11:21.829" v="236" actId="478"/>
          <ac:spMkLst>
            <pc:docMk/>
            <pc:sldMk cId="2430831717" sldId="1113"/>
            <ac:spMk id="2" creationId="{6C1C72FD-86B4-BC69-8534-60F22C37B2F5}"/>
          </ac:spMkLst>
        </pc:spChg>
        <pc:spChg chg="del">
          <ac:chgData name="Maarit Merla" userId="5cfffc45-8724-4e8f-8661-ad90d644abc6" providerId="ADAL" clId="{A6E3345E-6A01-46EC-8479-F2C40665D0CA}" dt="2024-08-07T11:11:36.811" v="240" actId="478"/>
          <ac:spMkLst>
            <pc:docMk/>
            <pc:sldMk cId="2430831717" sldId="1113"/>
            <ac:spMk id="3" creationId="{74F4398D-F858-60D8-8C26-EE866391BA41}"/>
          </ac:spMkLst>
        </pc:spChg>
        <pc:spChg chg="add mod">
          <ac:chgData name="Maarit Merla" userId="5cfffc45-8724-4e8f-8661-ad90d644abc6" providerId="ADAL" clId="{A6E3345E-6A01-46EC-8479-F2C40665D0CA}" dt="2024-08-07T11:13:23.740" v="327" actId="1035"/>
          <ac:spMkLst>
            <pc:docMk/>
            <pc:sldMk cId="2430831717" sldId="1113"/>
            <ac:spMk id="5" creationId="{A49D1006-AF12-6F07-6F3A-A53FB839EBD0}"/>
          </ac:spMkLst>
        </pc:spChg>
        <pc:spChg chg="add mod">
          <ac:chgData name="Maarit Merla" userId="5cfffc45-8724-4e8f-8661-ad90d644abc6" providerId="ADAL" clId="{A6E3345E-6A01-46EC-8479-F2C40665D0CA}" dt="2024-08-07T11:13:23.740" v="327" actId="1035"/>
          <ac:spMkLst>
            <pc:docMk/>
            <pc:sldMk cId="2430831717" sldId="1113"/>
            <ac:spMk id="6" creationId="{1ED0EF0E-4223-2F2D-048B-F82A8673547F}"/>
          </ac:spMkLst>
        </pc:spChg>
        <pc:spChg chg="add mod">
          <ac:chgData name="Maarit Merla" userId="5cfffc45-8724-4e8f-8661-ad90d644abc6" providerId="ADAL" clId="{A6E3345E-6A01-46EC-8479-F2C40665D0CA}" dt="2024-08-07T11:13:30.777" v="328" actId="1076"/>
          <ac:spMkLst>
            <pc:docMk/>
            <pc:sldMk cId="2430831717" sldId="1113"/>
            <ac:spMk id="8" creationId="{81BFAEC2-1B62-092A-7E3F-7312CFAEB82F}"/>
          </ac:spMkLst>
        </pc:spChg>
        <pc:spChg chg="add del mod">
          <ac:chgData name="Maarit Merla" userId="5cfffc45-8724-4e8f-8661-ad90d644abc6" providerId="ADAL" clId="{A6E3345E-6A01-46EC-8479-F2C40665D0CA}" dt="2024-08-07T11:12:15.244" v="244" actId="478"/>
          <ac:spMkLst>
            <pc:docMk/>
            <pc:sldMk cId="2430831717" sldId="1113"/>
            <ac:spMk id="9" creationId="{39DF0FE0-C8B8-8A00-C777-EB9ABFF4D4D2}"/>
          </ac:spMkLst>
        </pc:spChg>
        <pc:spChg chg="add del mod">
          <ac:chgData name="Maarit Merla" userId="5cfffc45-8724-4e8f-8661-ad90d644abc6" providerId="ADAL" clId="{A6E3345E-6A01-46EC-8479-F2C40665D0CA}" dt="2024-08-07T11:12:18.513" v="247" actId="478"/>
          <ac:spMkLst>
            <pc:docMk/>
            <pc:sldMk cId="2430831717" sldId="1113"/>
            <ac:spMk id="10" creationId="{2FA60F1A-87D2-1A9E-29B1-408ACE439F3F}"/>
          </ac:spMkLst>
        </pc:spChg>
        <pc:spChg chg="add del mod">
          <ac:chgData name="Maarit Merla" userId="5cfffc45-8724-4e8f-8661-ad90d644abc6" providerId="ADAL" clId="{A6E3345E-6A01-46EC-8479-F2C40665D0CA}" dt="2024-08-07T11:12:22.909" v="249" actId="478"/>
          <ac:spMkLst>
            <pc:docMk/>
            <pc:sldMk cId="2430831717" sldId="1113"/>
            <ac:spMk id="11" creationId="{11AF1989-71D6-7283-FFE8-078EA0104D04}"/>
          </ac:spMkLst>
        </pc:spChg>
        <pc:spChg chg="add mod">
          <ac:chgData name="Maarit Merla" userId="5cfffc45-8724-4e8f-8661-ad90d644abc6" providerId="ADAL" clId="{A6E3345E-6A01-46EC-8479-F2C40665D0CA}" dt="2024-08-12T05:16:06.532" v="3589" actId="1076"/>
          <ac:spMkLst>
            <pc:docMk/>
            <pc:sldMk cId="2430831717" sldId="1113"/>
            <ac:spMk id="12" creationId="{847DAA2B-BF93-02D3-EA9D-BAF3FD620C5C}"/>
          </ac:spMkLst>
        </pc:spChg>
        <pc:spChg chg="add mod">
          <ac:chgData name="Maarit Merla" userId="5cfffc45-8724-4e8f-8661-ad90d644abc6" providerId="ADAL" clId="{A6E3345E-6A01-46EC-8479-F2C40665D0CA}" dt="2024-08-12T05:17:18.427" v="3605" actId="20577"/>
          <ac:spMkLst>
            <pc:docMk/>
            <pc:sldMk cId="2430831717" sldId="1113"/>
            <ac:spMk id="13" creationId="{6DDF296B-510E-D6B7-143E-3797D9358C81}"/>
          </ac:spMkLst>
        </pc:spChg>
        <pc:spChg chg="add del mod">
          <ac:chgData name="Maarit Merla" userId="5cfffc45-8724-4e8f-8661-ad90d644abc6" providerId="ADAL" clId="{A6E3345E-6A01-46EC-8479-F2C40665D0CA}" dt="2024-08-07T11:12:14.398" v="243" actId="478"/>
          <ac:spMkLst>
            <pc:docMk/>
            <pc:sldMk cId="2430831717" sldId="1113"/>
            <ac:spMk id="14" creationId="{C78EFE30-9DEF-C224-6B62-0126D44C4F69}"/>
          </ac:spMkLst>
        </pc:spChg>
        <pc:spChg chg="add del mod">
          <ac:chgData name="Maarit Merla" userId="5cfffc45-8724-4e8f-8661-ad90d644abc6" providerId="ADAL" clId="{A6E3345E-6A01-46EC-8479-F2C40665D0CA}" dt="2024-08-07T11:12:21.774" v="248" actId="478"/>
          <ac:spMkLst>
            <pc:docMk/>
            <pc:sldMk cId="2430831717" sldId="1113"/>
            <ac:spMk id="15" creationId="{66276FCB-4069-F970-C0E7-A542C10908B1}"/>
          </ac:spMkLst>
        </pc:spChg>
        <pc:spChg chg="add mod">
          <ac:chgData name="Maarit Merla" userId="5cfffc45-8724-4e8f-8661-ad90d644abc6" providerId="ADAL" clId="{A6E3345E-6A01-46EC-8479-F2C40665D0CA}" dt="2024-08-12T05:17:35.319" v="3608" actId="1076"/>
          <ac:spMkLst>
            <pc:docMk/>
            <pc:sldMk cId="2430831717" sldId="1113"/>
            <ac:spMk id="21" creationId="{4A6D7D3E-2B57-440F-B2FC-1E59F2BE916E}"/>
          </ac:spMkLst>
        </pc:spChg>
        <pc:spChg chg="add del mod">
          <ac:chgData name="Maarit Merla" userId="5cfffc45-8724-4e8f-8661-ad90d644abc6" providerId="ADAL" clId="{A6E3345E-6A01-46EC-8479-F2C40665D0CA}" dt="2024-08-07T11:12:16.937" v="245" actId="478"/>
          <ac:spMkLst>
            <pc:docMk/>
            <pc:sldMk cId="2430831717" sldId="1113"/>
            <ac:spMk id="22" creationId="{28DAF7A4-CC2D-014B-1026-963189C721A2}"/>
          </ac:spMkLst>
        </pc:spChg>
        <pc:spChg chg="add mod">
          <ac:chgData name="Maarit Merla" userId="5cfffc45-8724-4e8f-8661-ad90d644abc6" providerId="ADAL" clId="{A6E3345E-6A01-46EC-8479-F2C40665D0CA}" dt="2024-08-07T11:13:43.435" v="331" actId="1076"/>
          <ac:spMkLst>
            <pc:docMk/>
            <pc:sldMk cId="2430831717" sldId="1113"/>
            <ac:spMk id="23" creationId="{0393E26C-A2EB-2C38-0492-3EFBB1D24DED}"/>
          </ac:spMkLst>
        </pc:spChg>
        <pc:spChg chg="add mod">
          <ac:chgData name="Maarit Merla" userId="5cfffc45-8724-4e8f-8661-ad90d644abc6" providerId="ADAL" clId="{A6E3345E-6A01-46EC-8479-F2C40665D0CA}" dt="2024-08-12T05:17:51.750" v="3609" actId="1076"/>
          <ac:spMkLst>
            <pc:docMk/>
            <pc:sldMk cId="2430831717" sldId="1113"/>
            <ac:spMk id="24" creationId="{654E7BC0-E7EA-C028-7E1B-BF57876C3A43}"/>
          </ac:spMkLst>
        </pc:spChg>
        <pc:picChg chg="add mod modCrop">
          <ac:chgData name="Maarit Merla" userId="5cfffc45-8724-4e8f-8661-ad90d644abc6" providerId="ADAL" clId="{A6E3345E-6A01-46EC-8479-F2C40665D0CA}" dt="2024-08-12T05:19:08.540" v="3613" actId="1038"/>
          <ac:picMkLst>
            <pc:docMk/>
            <pc:sldMk cId="2430831717" sldId="1113"/>
            <ac:picMk id="4" creationId="{314F232C-35FD-9167-3FDE-7AB682FC05B4}"/>
          </ac:picMkLst>
        </pc:picChg>
        <pc:picChg chg="add mod">
          <ac:chgData name="Maarit Merla" userId="5cfffc45-8724-4e8f-8661-ad90d644abc6" providerId="ADAL" clId="{A6E3345E-6A01-46EC-8479-F2C40665D0CA}" dt="2024-08-07T11:13:23.740" v="327" actId="1035"/>
          <ac:picMkLst>
            <pc:docMk/>
            <pc:sldMk cId="2430831717" sldId="1113"/>
            <ac:picMk id="7" creationId="{7C75B0F6-F5B1-94F2-EFAD-0023F28EC845}"/>
          </ac:picMkLst>
        </pc:picChg>
        <pc:picChg chg="add mod">
          <ac:chgData name="Maarit Merla" userId="5cfffc45-8724-4e8f-8661-ad90d644abc6" providerId="ADAL" clId="{A6E3345E-6A01-46EC-8479-F2C40665D0CA}" dt="2024-08-07T11:13:30.777" v="328" actId="1076"/>
          <ac:picMkLst>
            <pc:docMk/>
            <pc:sldMk cId="2430831717" sldId="1113"/>
            <ac:picMk id="16" creationId="{8F3BF57C-C97D-EAB4-A40F-ECA12D76815F}"/>
          </ac:picMkLst>
        </pc:picChg>
        <pc:picChg chg="add mod">
          <ac:chgData name="Maarit Merla" userId="5cfffc45-8724-4e8f-8661-ad90d644abc6" providerId="ADAL" clId="{A6E3345E-6A01-46EC-8479-F2C40665D0CA}" dt="2024-08-07T11:13:23.740" v="327" actId="1035"/>
          <ac:picMkLst>
            <pc:docMk/>
            <pc:sldMk cId="2430831717" sldId="1113"/>
            <ac:picMk id="17" creationId="{93A368C8-20CE-51DF-7EBA-6D77431693DB}"/>
          </ac:picMkLst>
        </pc:picChg>
        <pc:picChg chg="add del mod">
          <ac:chgData name="Maarit Merla" userId="5cfffc45-8724-4e8f-8661-ad90d644abc6" providerId="ADAL" clId="{A6E3345E-6A01-46EC-8479-F2C40665D0CA}" dt="2024-08-07T11:12:23.996" v="250" actId="478"/>
          <ac:picMkLst>
            <pc:docMk/>
            <pc:sldMk cId="2430831717" sldId="1113"/>
            <ac:picMk id="18" creationId="{23D660C7-72CD-7686-77B3-DC9E4FFB42CF}"/>
          </ac:picMkLst>
        </pc:picChg>
        <pc:picChg chg="add del mod">
          <ac:chgData name="Maarit Merla" userId="5cfffc45-8724-4e8f-8661-ad90d644abc6" providerId="ADAL" clId="{A6E3345E-6A01-46EC-8479-F2C40665D0CA}" dt="2024-08-07T11:12:17.757" v="246" actId="478"/>
          <ac:picMkLst>
            <pc:docMk/>
            <pc:sldMk cId="2430831717" sldId="1113"/>
            <ac:picMk id="19" creationId="{BA4F4F7A-9F40-C158-65EF-F5030E7DE550}"/>
          </ac:picMkLst>
        </pc:picChg>
        <pc:picChg chg="add del mod">
          <ac:chgData name="Maarit Merla" userId="5cfffc45-8724-4e8f-8661-ad90d644abc6" providerId="ADAL" clId="{A6E3345E-6A01-46EC-8479-F2C40665D0CA}" dt="2024-08-07T11:12:35.765" v="298" actId="478"/>
          <ac:picMkLst>
            <pc:docMk/>
            <pc:sldMk cId="2430831717" sldId="1113"/>
            <ac:picMk id="20" creationId="{6C9A098A-2219-74B9-084A-0E9AE7C0F53E}"/>
          </ac:picMkLst>
        </pc:picChg>
        <pc:picChg chg="add mod">
          <ac:chgData name="Maarit Merla" userId="5cfffc45-8724-4e8f-8661-ad90d644abc6" providerId="ADAL" clId="{A6E3345E-6A01-46EC-8479-F2C40665D0CA}" dt="2024-08-07T11:13:43.435" v="331" actId="1076"/>
          <ac:picMkLst>
            <pc:docMk/>
            <pc:sldMk cId="2430831717" sldId="1113"/>
            <ac:picMk id="25" creationId="{C2E73EF7-2B26-395B-1D17-62D8E7D324B1}"/>
          </ac:picMkLst>
        </pc:picChg>
        <pc:picChg chg="add del mod">
          <ac:chgData name="Maarit Merla" userId="5cfffc45-8724-4e8f-8661-ad90d644abc6" providerId="ADAL" clId="{A6E3345E-6A01-46EC-8479-F2C40665D0CA}" dt="2024-08-07T11:38:40.428" v="1315" actId="478"/>
          <ac:picMkLst>
            <pc:docMk/>
            <pc:sldMk cId="2430831717" sldId="1113"/>
            <ac:picMk id="27" creationId="{BE8F972B-EDB8-C1DF-5843-6FDD7F08E891}"/>
          </ac:picMkLst>
        </pc:picChg>
      </pc:sldChg>
      <pc:sldChg chg="addSp modSp new del mod">
        <pc:chgData name="Maarit Merla" userId="5cfffc45-8724-4e8f-8661-ad90d644abc6" providerId="ADAL" clId="{A6E3345E-6A01-46EC-8479-F2C40665D0CA}" dt="2024-08-06T12:31:04.382" v="203" actId="47"/>
        <pc:sldMkLst>
          <pc:docMk/>
          <pc:sldMk cId="2299958183" sldId="1114"/>
        </pc:sldMkLst>
        <pc:picChg chg="add mod">
          <ac:chgData name="Maarit Merla" userId="5cfffc45-8724-4e8f-8661-ad90d644abc6" providerId="ADAL" clId="{A6E3345E-6A01-46EC-8479-F2C40665D0CA}" dt="2024-08-06T12:30:54.537" v="202" actId="1076"/>
          <ac:picMkLst>
            <pc:docMk/>
            <pc:sldMk cId="2299958183" sldId="1114"/>
            <ac:picMk id="5" creationId="{38A6ECD9-7F7B-BD75-2EA4-5E6DD0120F5D}"/>
          </ac:picMkLst>
        </pc:picChg>
      </pc:sldChg>
      <pc:sldChg chg="addSp delSp modSp add del mod setBg">
        <pc:chgData name="Maarit Merla" userId="5cfffc45-8724-4e8f-8661-ad90d644abc6" providerId="ADAL" clId="{A6E3345E-6A01-46EC-8479-F2C40665D0CA}" dt="2024-08-12T05:37:01.697" v="4099" actId="47"/>
        <pc:sldMkLst>
          <pc:docMk/>
          <pc:sldMk cId="3553285944" sldId="1114"/>
        </pc:sldMkLst>
        <pc:spChg chg="add del mod">
          <ac:chgData name="Maarit Merla" userId="5cfffc45-8724-4e8f-8661-ad90d644abc6" providerId="ADAL" clId="{A6E3345E-6A01-46EC-8479-F2C40665D0CA}" dt="2024-08-07T11:30:34.366" v="882" actId="21"/>
          <ac:spMkLst>
            <pc:docMk/>
            <pc:sldMk cId="3553285944" sldId="1114"/>
            <ac:spMk id="5" creationId="{39362465-D963-DADA-B6CC-B5B0260B9809}"/>
          </ac:spMkLst>
        </pc:spChg>
        <pc:spChg chg="mod">
          <ac:chgData name="Maarit Merla" userId="5cfffc45-8724-4e8f-8661-ad90d644abc6" providerId="ADAL" clId="{A6E3345E-6A01-46EC-8479-F2C40665D0CA}" dt="2024-08-07T13:11:46.402" v="3285" actId="26606"/>
          <ac:spMkLst>
            <pc:docMk/>
            <pc:sldMk cId="3553285944" sldId="1114"/>
            <ac:spMk id="254" creationId="{00000000-0000-0000-0000-000000000000}"/>
          </ac:spMkLst>
        </pc:spChg>
        <pc:spChg chg="add del">
          <ac:chgData name="Maarit Merla" userId="5cfffc45-8724-4e8f-8661-ad90d644abc6" providerId="ADAL" clId="{A6E3345E-6A01-46EC-8479-F2C40665D0CA}" dt="2024-08-07T13:11:46.402" v="3285" actId="26606"/>
          <ac:spMkLst>
            <pc:docMk/>
            <pc:sldMk cId="3553285944" sldId="1114"/>
            <ac:spMk id="259" creationId="{2659FDB4-FCBE-4A89-B46D-43D4FA54464D}"/>
          </ac:spMkLst>
        </pc:spChg>
        <pc:graphicFrameChg chg="add del mod modGraphic">
          <ac:chgData name="Maarit Merla" userId="5cfffc45-8724-4e8f-8661-ad90d644abc6" providerId="ADAL" clId="{A6E3345E-6A01-46EC-8479-F2C40665D0CA}" dt="2024-08-12T05:31:55.470" v="4054" actId="12100"/>
          <ac:graphicFrameMkLst>
            <pc:docMk/>
            <pc:sldMk cId="3553285944" sldId="1114"/>
            <ac:graphicFrameMk id="4" creationId="{7C05E4DF-0C3B-842C-9ED1-9C6F0C87E80C}"/>
          </ac:graphicFrameMkLst>
        </pc:graphicFrameChg>
        <pc:picChg chg="del">
          <ac:chgData name="Maarit Merla" userId="5cfffc45-8724-4e8f-8661-ad90d644abc6" providerId="ADAL" clId="{A6E3345E-6A01-46EC-8479-F2C40665D0CA}" dt="2024-08-07T11:31:16.550" v="891" actId="478"/>
          <ac:picMkLst>
            <pc:docMk/>
            <pc:sldMk cId="3553285944" sldId="1114"/>
            <ac:picMk id="3" creationId="{88DD8351-2906-A3F0-91F9-48A2A8C03A19}"/>
          </ac:picMkLst>
        </pc:picChg>
        <pc:picChg chg="del">
          <ac:chgData name="Maarit Merla" userId="5cfffc45-8724-4e8f-8661-ad90d644abc6" providerId="ADAL" clId="{A6E3345E-6A01-46EC-8479-F2C40665D0CA}" dt="2024-08-07T11:30:21.766" v="878" actId="21"/>
          <ac:picMkLst>
            <pc:docMk/>
            <pc:sldMk cId="3553285944" sldId="1114"/>
            <ac:picMk id="11" creationId="{DFE982E7-1801-CB27-4CFC-119460F7B1A4}"/>
          </ac:picMkLst>
        </pc:picChg>
        <pc:picChg chg="del">
          <ac:chgData name="Maarit Merla" userId="5cfffc45-8724-4e8f-8661-ad90d644abc6" providerId="ADAL" clId="{A6E3345E-6A01-46EC-8479-F2C40665D0CA}" dt="2024-08-07T11:30:38.553" v="883" actId="21"/>
          <ac:picMkLst>
            <pc:docMk/>
            <pc:sldMk cId="3553285944" sldId="1114"/>
            <ac:picMk id="15" creationId="{553ED249-A721-DC50-FFBC-F6E61A43CBA3}"/>
          </ac:picMkLst>
        </pc:picChg>
        <pc:picChg chg="del">
          <ac:chgData name="Maarit Merla" userId="5cfffc45-8724-4e8f-8661-ad90d644abc6" providerId="ADAL" clId="{A6E3345E-6A01-46EC-8479-F2C40665D0CA}" dt="2024-08-07T11:31:05.143" v="888" actId="21"/>
          <ac:picMkLst>
            <pc:docMk/>
            <pc:sldMk cId="3553285944" sldId="1114"/>
            <ac:picMk id="17" creationId="{95B0639F-5A3A-4701-5537-69F669E61C37}"/>
          </ac:picMkLst>
        </pc:picChg>
        <pc:picChg chg="del">
          <ac:chgData name="Maarit Merla" userId="5cfffc45-8724-4e8f-8661-ad90d644abc6" providerId="ADAL" clId="{A6E3345E-6A01-46EC-8479-F2C40665D0CA}" dt="2024-08-07T11:31:12.432" v="890" actId="478"/>
          <ac:picMkLst>
            <pc:docMk/>
            <pc:sldMk cId="3553285944" sldId="1114"/>
            <ac:picMk id="19" creationId="{0170C8AE-CE1F-FDF2-A06D-9B56329CF2F0}"/>
          </ac:picMkLst>
        </pc:picChg>
        <pc:cxnChg chg="add del">
          <ac:chgData name="Maarit Merla" userId="5cfffc45-8724-4e8f-8661-ad90d644abc6" providerId="ADAL" clId="{A6E3345E-6A01-46EC-8479-F2C40665D0CA}" dt="2024-08-07T13:11:46.402" v="3285" actId="26606"/>
          <ac:cxnSpMkLst>
            <pc:docMk/>
            <pc:sldMk cId="3553285944" sldId="1114"/>
            <ac:cxnSpMk id="261" creationId="{C8F51B3F-8331-4E4A-AE96-D47B1006EEAD}"/>
          </ac:cxnSpMkLst>
        </pc:cxnChg>
      </pc:sldChg>
      <pc:sldChg chg="addSp delSp modSp add del mod">
        <pc:chgData name="Maarit Merla" userId="5cfffc45-8724-4e8f-8661-ad90d644abc6" providerId="ADAL" clId="{A6E3345E-6A01-46EC-8479-F2C40665D0CA}" dt="2024-08-06T12:37:38.609" v="234" actId="47"/>
        <pc:sldMkLst>
          <pc:docMk/>
          <pc:sldMk cId="4005439427" sldId="1114"/>
        </pc:sldMkLst>
        <pc:picChg chg="add mod modCrop">
          <ac:chgData name="Maarit Merla" userId="5cfffc45-8724-4e8f-8661-ad90d644abc6" providerId="ADAL" clId="{A6E3345E-6A01-46EC-8479-F2C40665D0CA}" dt="2024-08-06T12:35:17.644" v="225" actId="1076"/>
          <ac:picMkLst>
            <pc:docMk/>
            <pc:sldMk cId="4005439427" sldId="1114"/>
            <ac:picMk id="2" creationId="{01180A12-2E8E-9E19-D719-1CF5E25AA239}"/>
          </ac:picMkLst>
        </pc:picChg>
        <pc:picChg chg="del">
          <ac:chgData name="Maarit Merla" userId="5cfffc45-8724-4e8f-8661-ad90d644abc6" providerId="ADAL" clId="{A6E3345E-6A01-46EC-8479-F2C40665D0CA}" dt="2024-08-06T12:34:58.619" v="221" actId="478"/>
          <ac:picMkLst>
            <pc:docMk/>
            <pc:sldMk cId="4005439427" sldId="1114"/>
            <ac:picMk id="9" creationId="{B30F5D4B-8C4D-734F-8E10-61EB9E04D361}"/>
          </ac:picMkLst>
        </pc:picChg>
      </pc:sldChg>
      <pc:sldChg chg="addSp delSp modSp new mod modClrScheme chgLayout">
        <pc:chgData name="Maarit Merla" userId="5cfffc45-8724-4e8f-8661-ad90d644abc6" providerId="ADAL" clId="{A6E3345E-6A01-46EC-8479-F2C40665D0CA}" dt="2024-08-12T05:24:41.981" v="3786" actId="1035"/>
        <pc:sldMkLst>
          <pc:docMk/>
          <pc:sldMk cId="3960636971" sldId="1115"/>
        </pc:sldMkLst>
        <pc:spChg chg="del mod ord">
          <ac:chgData name="Maarit Merla" userId="5cfffc45-8724-4e8f-8661-ad90d644abc6" providerId="ADAL" clId="{A6E3345E-6A01-46EC-8479-F2C40665D0CA}" dt="2024-08-07T12:49:33.686" v="1390" actId="700"/>
          <ac:spMkLst>
            <pc:docMk/>
            <pc:sldMk cId="3960636971" sldId="1115"/>
            <ac:spMk id="2" creationId="{ACEC0870-0887-4435-F831-A52957FD5EDF}"/>
          </ac:spMkLst>
        </pc:spChg>
        <pc:spChg chg="del mod ord">
          <ac:chgData name="Maarit Merla" userId="5cfffc45-8724-4e8f-8661-ad90d644abc6" providerId="ADAL" clId="{A6E3345E-6A01-46EC-8479-F2C40665D0CA}" dt="2024-08-07T12:49:33.686" v="1390" actId="700"/>
          <ac:spMkLst>
            <pc:docMk/>
            <pc:sldMk cId="3960636971" sldId="1115"/>
            <ac:spMk id="3" creationId="{680A54B8-2B1C-7128-38E4-90477D2C8077}"/>
          </ac:spMkLst>
        </pc:spChg>
        <pc:spChg chg="add mod ord">
          <ac:chgData name="Maarit Merla" userId="5cfffc45-8724-4e8f-8661-ad90d644abc6" providerId="ADAL" clId="{A6E3345E-6A01-46EC-8479-F2C40665D0CA}" dt="2024-08-12T05:24:41.981" v="3786" actId="1035"/>
          <ac:spMkLst>
            <pc:docMk/>
            <pc:sldMk cId="3960636971" sldId="1115"/>
            <ac:spMk id="4" creationId="{954A2114-3C27-770D-0CF4-D768A31E52A9}"/>
          </ac:spMkLst>
        </pc:spChg>
        <pc:spChg chg="add mod ord">
          <ac:chgData name="Maarit Merla" userId="5cfffc45-8724-4e8f-8661-ad90d644abc6" providerId="ADAL" clId="{A6E3345E-6A01-46EC-8479-F2C40665D0CA}" dt="2024-08-12T05:24:32.989" v="3775" actId="14100"/>
          <ac:spMkLst>
            <pc:docMk/>
            <pc:sldMk cId="3960636971" sldId="1115"/>
            <ac:spMk id="5" creationId="{1C4F1A4C-8A8F-FABB-5666-B8C853DF89B5}"/>
          </ac:spMkLst>
        </pc:spChg>
        <pc:picChg chg="add del mod modCrop">
          <ac:chgData name="Maarit Merla" userId="5cfffc45-8724-4e8f-8661-ad90d644abc6" providerId="ADAL" clId="{A6E3345E-6A01-46EC-8479-F2C40665D0CA}" dt="2024-08-07T12:56:12.572" v="2045" actId="478"/>
          <ac:picMkLst>
            <pc:docMk/>
            <pc:sldMk cId="3960636971" sldId="1115"/>
            <ac:picMk id="7" creationId="{3223EBA9-FCF1-DEE0-1F7B-75F7C29498AA}"/>
          </ac:picMkLst>
        </pc:picChg>
      </pc:sldChg>
      <pc:sldChg chg="addSp delSp modSp new mod modClrScheme chgLayout">
        <pc:chgData name="Maarit Merla" userId="5cfffc45-8724-4e8f-8661-ad90d644abc6" providerId="ADAL" clId="{A6E3345E-6A01-46EC-8479-F2C40665D0CA}" dt="2024-08-12T05:25:30.787" v="3820" actId="1036"/>
        <pc:sldMkLst>
          <pc:docMk/>
          <pc:sldMk cId="694321608" sldId="1116"/>
        </pc:sldMkLst>
        <pc:spChg chg="del mod ord">
          <ac:chgData name="Maarit Merla" userId="5cfffc45-8724-4e8f-8661-ad90d644abc6" providerId="ADAL" clId="{A6E3345E-6A01-46EC-8479-F2C40665D0CA}" dt="2024-08-07T12:57:10.535" v="2055" actId="700"/>
          <ac:spMkLst>
            <pc:docMk/>
            <pc:sldMk cId="694321608" sldId="1116"/>
            <ac:spMk id="2" creationId="{FEB38BBE-4DCE-B896-16FC-58CAB3731AA2}"/>
          </ac:spMkLst>
        </pc:spChg>
        <pc:spChg chg="del mod ord">
          <ac:chgData name="Maarit Merla" userId="5cfffc45-8724-4e8f-8661-ad90d644abc6" providerId="ADAL" clId="{A6E3345E-6A01-46EC-8479-F2C40665D0CA}" dt="2024-08-07T12:57:10.535" v="2055" actId="700"/>
          <ac:spMkLst>
            <pc:docMk/>
            <pc:sldMk cId="694321608" sldId="1116"/>
            <ac:spMk id="3" creationId="{409B978B-BB8D-10A8-E19B-7337A208C248}"/>
          </ac:spMkLst>
        </pc:spChg>
        <pc:spChg chg="add del mod ord">
          <ac:chgData name="Maarit Merla" userId="5cfffc45-8724-4e8f-8661-ad90d644abc6" providerId="ADAL" clId="{A6E3345E-6A01-46EC-8479-F2C40665D0CA}" dt="2024-08-07T12:57:39.554" v="2058" actId="700"/>
          <ac:spMkLst>
            <pc:docMk/>
            <pc:sldMk cId="694321608" sldId="1116"/>
            <ac:spMk id="4" creationId="{8AC0757D-5F82-2D6B-F224-C566AB721420}"/>
          </ac:spMkLst>
        </pc:spChg>
        <pc:spChg chg="add del mod ord">
          <ac:chgData name="Maarit Merla" userId="5cfffc45-8724-4e8f-8661-ad90d644abc6" providerId="ADAL" clId="{A6E3345E-6A01-46EC-8479-F2C40665D0CA}" dt="2024-08-07T12:57:39.554" v="2058" actId="700"/>
          <ac:spMkLst>
            <pc:docMk/>
            <pc:sldMk cId="694321608" sldId="1116"/>
            <ac:spMk id="5" creationId="{CA5EAA5A-E7F5-79FB-6864-7019B1737607}"/>
          </ac:spMkLst>
        </pc:spChg>
        <pc:spChg chg="add mod ord">
          <ac:chgData name="Maarit Merla" userId="5cfffc45-8724-4e8f-8661-ad90d644abc6" providerId="ADAL" clId="{A6E3345E-6A01-46EC-8479-F2C40665D0CA}" dt="2024-08-12T05:24:56.937" v="3797" actId="1037"/>
          <ac:spMkLst>
            <pc:docMk/>
            <pc:sldMk cId="694321608" sldId="1116"/>
            <ac:spMk id="6" creationId="{4907CC47-9A0C-D2A1-7228-7C75A4441AC5}"/>
          </ac:spMkLst>
        </pc:spChg>
        <pc:spChg chg="add mod ord">
          <ac:chgData name="Maarit Merla" userId="5cfffc45-8724-4e8f-8661-ad90d644abc6" providerId="ADAL" clId="{A6E3345E-6A01-46EC-8479-F2C40665D0CA}" dt="2024-08-12T05:25:30.787" v="3820" actId="1036"/>
          <ac:spMkLst>
            <pc:docMk/>
            <pc:sldMk cId="694321608" sldId="1116"/>
            <ac:spMk id="7" creationId="{AF4D844B-6A70-891A-9AEC-BA937DFA201B}"/>
          </ac:spMkLst>
        </pc:spChg>
        <pc:picChg chg="add del mod">
          <ac:chgData name="Maarit Merla" userId="5cfffc45-8724-4e8f-8661-ad90d644abc6" providerId="ADAL" clId="{A6E3345E-6A01-46EC-8479-F2C40665D0CA}" dt="2024-08-07T13:01:57.827" v="2706" actId="478"/>
          <ac:picMkLst>
            <pc:docMk/>
            <pc:sldMk cId="694321608" sldId="1116"/>
            <ac:picMk id="9" creationId="{BC6B30C2-FF9A-F1A9-EA25-D996B4B201C6}"/>
          </ac:picMkLst>
        </pc:picChg>
      </pc:sldChg>
      <pc:sldChg chg="addSp delSp modSp new mod modClrScheme chgLayout">
        <pc:chgData name="Maarit Merla" userId="5cfffc45-8724-4e8f-8661-ad90d644abc6" providerId="ADAL" clId="{A6E3345E-6A01-46EC-8479-F2C40665D0CA}" dt="2024-08-12T05:28:33.977" v="3940" actId="14100"/>
        <pc:sldMkLst>
          <pc:docMk/>
          <pc:sldMk cId="787523357" sldId="1117"/>
        </pc:sldMkLst>
        <pc:spChg chg="del mod ord">
          <ac:chgData name="Maarit Merla" userId="5cfffc45-8724-4e8f-8661-ad90d644abc6" providerId="ADAL" clId="{A6E3345E-6A01-46EC-8479-F2C40665D0CA}" dt="2024-08-07T12:57:24.344" v="2057" actId="700"/>
          <ac:spMkLst>
            <pc:docMk/>
            <pc:sldMk cId="787523357" sldId="1117"/>
            <ac:spMk id="2" creationId="{B083E7C3-7C0F-0F04-8437-E52725486D0A}"/>
          </ac:spMkLst>
        </pc:spChg>
        <pc:spChg chg="del mod ord">
          <ac:chgData name="Maarit Merla" userId="5cfffc45-8724-4e8f-8661-ad90d644abc6" providerId="ADAL" clId="{A6E3345E-6A01-46EC-8479-F2C40665D0CA}" dt="2024-08-07T12:57:24.344" v="2057" actId="700"/>
          <ac:spMkLst>
            <pc:docMk/>
            <pc:sldMk cId="787523357" sldId="1117"/>
            <ac:spMk id="3" creationId="{F17F031D-FBEC-5170-3070-7A1DB2449CC0}"/>
          </ac:spMkLst>
        </pc:spChg>
        <pc:spChg chg="add mod ord">
          <ac:chgData name="Maarit Merla" userId="5cfffc45-8724-4e8f-8661-ad90d644abc6" providerId="ADAL" clId="{A6E3345E-6A01-46EC-8479-F2C40665D0CA}" dt="2024-08-12T05:28:30.194" v="3939" actId="14100"/>
          <ac:spMkLst>
            <pc:docMk/>
            <pc:sldMk cId="787523357" sldId="1117"/>
            <ac:spMk id="4" creationId="{5B77B422-6D78-C40A-07A6-B84B7E6155EB}"/>
          </ac:spMkLst>
        </pc:spChg>
        <pc:spChg chg="add mod ord">
          <ac:chgData name="Maarit Merla" userId="5cfffc45-8724-4e8f-8661-ad90d644abc6" providerId="ADAL" clId="{A6E3345E-6A01-46EC-8479-F2C40665D0CA}" dt="2024-08-12T05:28:33.977" v="3940" actId="14100"/>
          <ac:spMkLst>
            <pc:docMk/>
            <pc:sldMk cId="787523357" sldId="1117"/>
            <ac:spMk id="5" creationId="{B3801EC7-9DF8-8189-3FF1-1D80484A196C}"/>
          </ac:spMkLst>
        </pc:spChg>
        <pc:picChg chg="add del mod">
          <ac:chgData name="Maarit Merla" userId="5cfffc45-8724-4e8f-8661-ad90d644abc6" providerId="ADAL" clId="{A6E3345E-6A01-46EC-8479-F2C40665D0CA}" dt="2024-08-07T13:06:43.141" v="3282" actId="478"/>
          <ac:picMkLst>
            <pc:docMk/>
            <pc:sldMk cId="787523357" sldId="1117"/>
            <ac:picMk id="7" creationId="{3B1B8C94-CB4B-F800-070A-DA35967A6B85}"/>
          </ac:picMkLst>
        </pc:picChg>
      </pc:sldChg>
      <pc:sldChg chg="addSp modSp add del mod setBg">
        <pc:chgData name="Maarit Merla" userId="5cfffc45-8724-4e8f-8661-ad90d644abc6" providerId="ADAL" clId="{A6E3345E-6A01-46EC-8479-F2C40665D0CA}" dt="2024-08-07T13:16:06.080" v="3360" actId="47"/>
        <pc:sldMkLst>
          <pc:docMk/>
          <pc:sldMk cId="1496346769" sldId="1118"/>
        </pc:sldMkLst>
        <pc:spChg chg="mod">
          <ac:chgData name="Maarit Merla" userId="5cfffc45-8724-4e8f-8661-ad90d644abc6" providerId="ADAL" clId="{A6E3345E-6A01-46EC-8479-F2C40665D0CA}" dt="2024-08-07T13:12:13.715" v="3287" actId="26606"/>
          <ac:spMkLst>
            <pc:docMk/>
            <pc:sldMk cId="1496346769" sldId="1118"/>
            <ac:spMk id="254" creationId="{00000000-0000-0000-0000-000000000000}"/>
          </ac:spMkLst>
        </pc:spChg>
        <pc:spChg chg="add">
          <ac:chgData name="Maarit Merla" userId="5cfffc45-8724-4e8f-8661-ad90d644abc6" providerId="ADAL" clId="{A6E3345E-6A01-46EC-8479-F2C40665D0CA}" dt="2024-08-07T13:12:13.715" v="3287" actId="26606"/>
          <ac:spMkLst>
            <pc:docMk/>
            <pc:sldMk cId="1496346769" sldId="1118"/>
            <ac:spMk id="259" creationId="{2659FDB4-FCBE-4A89-B46D-43D4FA54464D}"/>
          </ac:spMkLst>
        </pc:spChg>
        <pc:graphicFrameChg chg="mod modGraphic">
          <ac:chgData name="Maarit Merla" userId="5cfffc45-8724-4e8f-8661-ad90d644abc6" providerId="ADAL" clId="{A6E3345E-6A01-46EC-8479-F2C40665D0CA}" dt="2024-08-07T13:12:13.715" v="3287" actId="26606"/>
          <ac:graphicFrameMkLst>
            <pc:docMk/>
            <pc:sldMk cId="1496346769" sldId="1118"/>
            <ac:graphicFrameMk id="4" creationId="{7C05E4DF-0C3B-842C-9ED1-9C6F0C87E80C}"/>
          </ac:graphicFrameMkLst>
        </pc:graphicFrameChg>
        <pc:cxnChg chg="add">
          <ac:chgData name="Maarit Merla" userId="5cfffc45-8724-4e8f-8661-ad90d644abc6" providerId="ADAL" clId="{A6E3345E-6A01-46EC-8479-F2C40665D0CA}" dt="2024-08-07T13:12:13.715" v="3287" actId="26606"/>
          <ac:cxnSpMkLst>
            <pc:docMk/>
            <pc:sldMk cId="1496346769" sldId="1118"/>
            <ac:cxnSpMk id="261" creationId="{C8F51B3F-8331-4E4A-AE96-D47B1006EEAD}"/>
          </ac:cxnSpMkLst>
        </pc:cxnChg>
      </pc:sldChg>
      <pc:sldChg chg="addSp delSp modSp add del mod setBg">
        <pc:chgData name="Maarit Merla" userId="5cfffc45-8724-4e8f-8661-ad90d644abc6" providerId="ADAL" clId="{A6E3345E-6A01-46EC-8479-F2C40665D0CA}" dt="2024-08-12T05:37:08.216" v="4100" actId="47"/>
        <pc:sldMkLst>
          <pc:docMk/>
          <pc:sldMk cId="3159736096" sldId="1118"/>
        </pc:sldMkLst>
        <pc:spChg chg="mod">
          <ac:chgData name="Maarit Merla" userId="5cfffc45-8724-4e8f-8661-ad90d644abc6" providerId="ADAL" clId="{A6E3345E-6A01-46EC-8479-F2C40665D0CA}" dt="2024-08-12T05:33:45.056" v="4070" actId="26606"/>
          <ac:spMkLst>
            <pc:docMk/>
            <pc:sldMk cId="3159736096" sldId="1118"/>
            <ac:spMk id="254" creationId="{00000000-0000-0000-0000-000000000000}"/>
          </ac:spMkLst>
        </pc:spChg>
        <pc:spChg chg="add del">
          <ac:chgData name="Maarit Merla" userId="5cfffc45-8724-4e8f-8661-ad90d644abc6" providerId="ADAL" clId="{A6E3345E-6A01-46EC-8479-F2C40665D0CA}" dt="2024-08-12T05:33:31.755" v="4067" actId="26606"/>
          <ac:spMkLst>
            <pc:docMk/>
            <pc:sldMk cId="3159736096" sldId="1118"/>
            <ac:spMk id="257" creationId="{6C4028FD-8BAA-4A19-BFDE-594D991B7552}"/>
          </ac:spMkLst>
        </pc:spChg>
        <pc:spChg chg="add del">
          <ac:chgData name="Maarit Merla" userId="5cfffc45-8724-4e8f-8661-ad90d644abc6" providerId="ADAL" clId="{A6E3345E-6A01-46EC-8479-F2C40665D0CA}" dt="2024-08-12T05:32:59.864" v="4059" actId="26606"/>
          <ac:spMkLst>
            <pc:docMk/>
            <pc:sldMk cId="3159736096" sldId="1118"/>
            <ac:spMk id="259" creationId="{1D63C574-BFD2-41A1-A567-B0C3CC7FDD4F}"/>
          </ac:spMkLst>
        </pc:spChg>
        <pc:spChg chg="add del">
          <ac:chgData name="Maarit Merla" userId="5cfffc45-8724-4e8f-8661-ad90d644abc6" providerId="ADAL" clId="{A6E3345E-6A01-46EC-8479-F2C40665D0CA}" dt="2024-08-12T05:32:54.340" v="4057" actId="26606"/>
          <ac:spMkLst>
            <pc:docMk/>
            <pc:sldMk cId="3159736096" sldId="1118"/>
            <ac:spMk id="260" creationId="{B50AB553-2A96-4A92-96F2-93548E096954}"/>
          </ac:spMkLst>
        </pc:spChg>
        <pc:spChg chg="add del">
          <ac:chgData name="Maarit Merla" userId="5cfffc45-8724-4e8f-8661-ad90d644abc6" providerId="ADAL" clId="{A6E3345E-6A01-46EC-8479-F2C40665D0CA}" dt="2024-08-12T05:32:59.864" v="4059" actId="26606"/>
          <ac:spMkLst>
            <pc:docMk/>
            <pc:sldMk cId="3159736096" sldId="1118"/>
            <ac:spMk id="261" creationId="{E2A46BAB-8C31-42B2-90E8-B26DD3E81D37}"/>
          </ac:spMkLst>
        </pc:spChg>
        <pc:spChg chg="add del">
          <ac:chgData name="Maarit Merla" userId="5cfffc45-8724-4e8f-8661-ad90d644abc6" providerId="ADAL" clId="{A6E3345E-6A01-46EC-8479-F2C40665D0CA}" dt="2024-08-12T05:33:45.024" v="4069" actId="26606"/>
          <ac:spMkLst>
            <pc:docMk/>
            <pc:sldMk cId="3159736096" sldId="1118"/>
            <ac:spMk id="262" creationId="{E51BA4DF-2BD4-4EC2-B1DB-B27C8AC71864}"/>
          </ac:spMkLst>
        </pc:spChg>
        <pc:spChg chg="add">
          <ac:chgData name="Maarit Merla" userId="5cfffc45-8724-4e8f-8661-ad90d644abc6" providerId="ADAL" clId="{A6E3345E-6A01-46EC-8479-F2C40665D0CA}" dt="2024-08-12T05:33:45.056" v="4070" actId="26606"/>
          <ac:spMkLst>
            <pc:docMk/>
            <pc:sldMk cId="3159736096" sldId="1118"/>
            <ac:spMk id="265" creationId="{063BBA22-50EA-4C4D-BE05-F1CE4E63AA56}"/>
          </ac:spMkLst>
        </pc:spChg>
        <pc:spChg chg="add">
          <ac:chgData name="Maarit Merla" userId="5cfffc45-8724-4e8f-8661-ad90d644abc6" providerId="ADAL" clId="{A6E3345E-6A01-46EC-8479-F2C40665D0CA}" dt="2024-08-12T05:33:45.056" v="4070" actId="26606"/>
          <ac:spMkLst>
            <pc:docMk/>
            <pc:sldMk cId="3159736096" sldId="1118"/>
            <ac:spMk id="266" creationId="{BACC6370-2D7E-4714-9D71-7542949D7D5D}"/>
          </ac:spMkLst>
        </pc:spChg>
        <pc:spChg chg="add">
          <ac:chgData name="Maarit Merla" userId="5cfffc45-8724-4e8f-8661-ad90d644abc6" providerId="ADAL" clId="{A6E3345E-6A01-46EC-8479-F2C40665D0CA}" dt="2024-08-12T05:33:45.056" v="4070" actId="26606"/>
          <ac:spMkLst>
            <pc:docMk/>
            <pc:sldMk cId="3159736096" sldId="1118"/>
            <ac:spMk id="268" creationId="{F68B3F68-107C-434F-AA38-110D5EA91B85}"/>
          </ac:spMkLst>
        </pc:spChg>
        <pc:spChg chg="add">
          <ac:chgData name="Maarit Merla" userId="5cfffc45-8724-4e8f-8661-ad90d644abc6" providerId="ADAL" clId="{A6E3345E-6A01-46EC-8479-F2C40665D0CA}" dt="2024-08-12T05:33:45.056" v="4070" actId="26606"/>
          <ac:spMkLst>
            <pc:docMk/>
            <pc:sldMk cId="3159736096" sldId="1118"/>
            <ac:spMk id="269" creationId="{AAD0DBB9-1A4B-4391-81D4-CB19F9AB918A}"/>
          </ac:spMkLst>
        </pc:spChg>
        <pc:spChg chg="add del">
          <ac:chgData name="Maarit Merla" userId="5cfffc45-8724-4e8f-8661-ad90d644abc6" providerId="ADAL" clId="{A6E3345E-6A01-46EC-8479-F2C40665D0CA}" dt="2024-08-12T05:33:06.111" v="4061" actId="26606"/>
          <ac:spMkLst>
            <pc:docMk/>
            <pc:sldMk cId="3159736096" sldId="1118"/>
            <ac:spMk id="276" creationId="{E51BA4DF-2BD4-4EC2-B1DB-B27C8AC71864}"/>
          </ac:spMkLst>
        </pc:spChg>
        <pc:spChg chg="add del">
          <ac:chgData name="Maarit Merla" userId="5cfffc45-8724-4e8f-8661-ad90d644abc6" providerId="ADAL" clId="{A6E3345E-6A01-46EC-8479-F2C40665D0CA}" dt="2024-08-12T05:33:15.255" v="4063" actId="26606"/>
          <ac:spMkLst>
            <pc:docMk/>
            <pc:sldMk cId="3159736096" sldId="1118"/>
            <ac:spMk id="279" creationId="{35DB3719-6FDC-4E5D-891D-FF40B7300F64}"/>
          </ac:spMkLst>
        </pc:spChg>
        <pc:spChg chg="add del">
          <ac:chgData name="Maarit Merla" userId="5cfffc45-8724-4e8f-8661-ad90d644abc6" providerId="ADAL" clId="{A6E3345E-6A01-46EC-8479-F2C40665D0CA}" dt="2024-08-12T05:33:15.255" v="4063" actId="26606"/>
          <ac:spMkLst>
            <pc:docMk/>
            <pc:sldMk cId="3159736096" sldId="1118"/>
            <ac:spMk id="280" creationId="{E0CBAC23-2E3F-4A90-BA59-F8299F6A5439}"/>
          </ac:spMkLst>
        </pc:spChg>
        <pc:grpChg chg="add del">
          <ac:chgData name="Maarit Merla" userId="5cfffc45-8724-4e8f-8661-ad90d644abc6" providerId="ADAL" clId="{A6E3345E-6A01-46EC-8479-F2C40665D0CA}" dt="2024-08-12T05:32:59.864" v="4059" actId="26606"/>
          <ac:grpSpMkLst>
            <pc:docMk/>
            <pc:sldMk cId="3159736096" sldId="1118"/>
            <ac:grpSpMk id="263" creationId="{B3F7A3C7-0737-4E57-B30E-8EEFE638B401}"/>
          </ac:grpSpMkLst>
        </pc:grpChg>
        <pc:grpChg chg="add del">
          <ac:chgData name="Maarit Merla" userId="5cfffc45-8724-4e8f-8661-ad90d644abc6" providerId="ADAL" clId="{A6E3345E-6A01-46EC-8479-F2C40665D0CA}" dt="2024-08-12T05:32:59.864" v="4059" actId="26606"/>
          <ac:grpSpMkLst>
            <pc:docMk/>
            <pc:sldMk cId="3159736096" sldId="1118"/>
            <ac:grpSpMk id="267" creationId="{43F5E015-E085-4624-B431-B42414448684}"/>
          </ac:grpSpMkLst>
        </pc:grpChg>
        <pc:graphicFrameChg chg="mod modGraphic">
          <ac:chgData name="Maarit Merla" userId="5cfffc45-8724-4e8f-8661-ad90d644abc6" providerId="ADAL" clId="{A6E3345E-6A01-46EC-8479-F2C40665D0CA}" dt="2024-08-12T05:33:45.056" v="4070" actId="26606"/>
          <ac:graphicFrameMkLst>
            <pc:docMk/>
            <pc:sldMk cId="3159736096" sldId="1118"/>
            <ac:graphicFrameMk id="4" creationId="{7C05E4DF-0C3B-842C-9ED1-9C6F0C87E80C}"/>
          </ac:graphicFrameMkLst>
        </pc:graphicFrameChg>
        <pc:picChg chg="add del">
          <ac:chgData name="Maarit Merla" userId="5cfffc45-8724-4e8f-8661-ad90d644abc6" providerId="ADAL" clId="{A6E3345E-6A01-46EC-8479-F2C40665D0CA}" dt="2024-08-12T05:32:54.340" v="4057" actId="26606"/>
          <ac:picMkLst>
            <pc:docMk/>
            <pc:sldMk cId="3159736096" sldId="1118"/>
            <ac:picMk id="256" creationId="{73EB0AF3-9580-9B29-6EE2-55C23952E2CC}"/>
          </ac:picMkLst>
        </pc:picChg>
        <pc:picChg chg="add del">
          <ac:chgData name="Maarit Merla" userId="5cfffc45-8724-4e8f-8661-ad90d644abc6" providerId="ADAL" clId="{A6E3345E-6A01-46EC-8479-F2C40665D0CA}" dt="2024-08-12T05:33:45.024" v="4069" actId="26606"/>
          <ac:picMkLst>
            <pc:docMk/>
            <pc:sldMk cId="3159736096" sldId="1118"/>
            <ac:picMk id="264" creationId="{EE46FB45-995D-C837-14B7-A699708281BF}"/>
          </ac:picMkLst>
        </pc:picChg>
        <pc:picChg chg="add del">
          <ac:chgData name="Maarit Merla" userId="5cfffc45-8724-4e8f-8661-ad90d644abc6" providerId="ADAL" clId="{A6E3345E-6A01-46EC-8479-F2C40665D0CA}" dt="2024-08-12T05:33:06.111" v="4061" actId="26606"/>
          <ac:picMkLst>
            <pc:docMk/>
            <pc:sldMk cId="3159736096" sldId="1118"/>
            <ac:picMk id="277" creationId="{EE46FB45-995D-C837-14B7-A699708281BF}"/>
          </ac:picMkLst>
        </pc:picChg>
      </pc:sldChg>
      <pc:sldChg chg="addSp delSp modSp new del mod">
        <pc:chgData name="Maarit Merla" userId="5cfffc45-8724-4e8f-8661-ad90d644abc6" providerId="ADAL" clId="{A6E3345E-6A01-46EC-8479-F2C40665D0CA}" dt="2024-08-07T13:23:16.019" v="3369" actId="47"/>
        <pc:sldMkLst>
          <pc:docMk/>
          <pc:sldMk cId="1102563523" sldId="1119"/>
        </pc:sldMkLst>
        <pc:spChg chg="del mod">
          <ac:chgData name="Maarit Merla" userId="5cfffc45-8724-4e8f-8661-ad90d644abc6" providerId="ADAL" clId="{A6E3345E-6A01-46EC-8479-F2C40665D0CA}" dt="2024-08-07T13:14:33.929" v="3308" actId="478"/>
          <ac:spMkLst>
            <pc:docMk/>
            <pc:sldMk cId="1102563523" sldId="1119"/>
            <ac:spMk id="2" creationId="{6FD350E3-CB6D-D980-0A8F-348C1F901826}"/>
          </ac:spMkLst>
        </pc:spChg>
        <pc:spChg chg="del">
          <ac:chgData name="Maarit Merla" userId="5cfffc45-8724-4e8f-8661-ad90d644abc6" providerId="ADAL" clId="{A6E3345E-6A01-46EC-8479-F2C40665D0CA}" dt="2024-08-07T13:14:57.953" v="3314" actId="478"/>
          <ac:spMkLst>
            <pc:docMk/>
            <pc:sldMk cId="1102563523" sldId="1119"/>
            <ac:spMk id="3" creationId="{00F09943-F433-520D-6B38-74323C653F22}"/>
          </ac:spMkLst>
        </pc:spChg>
        <pc:spChg chg="add del mod">
          <ac:chgData name="Maarit Merla" userId="5cfffc45-8724-4e8f-8661-ad90d644abc6" providerId="ADAL" clId="{A6E3345E-6A01-46EC-8479-F2C40665D0CA}" dt="2024-08-07T13:12:34.090" v="3290" actId="478"/>
          <ac:spMkLst>
            <pc:docMk/>
            <pc:sldMk cId="1102563523" sldId="1119"/>
            <ac:spMk id="4" creationId="{2983D145-6CB3-FA8F-DC31-AD62DBD00565}"/>
          </ac:spMkLst>
        </pc:spChg>
        <pc:spChg chg="add del mod">
          <ac:chgData name="Maarit Merla" userId="5cfffc45-8724-4e8f-8661-ad90d644abc6" providerId="ADAL" clId="{A6E3345E-6A01-46EC-8479-F2C40665D0CA}" dt="2024-08-07T13:14:43.468" v="3309"/>
          <ac:spMkLst>
            <pc:docMk/>
            <pc:sldMk cId="1102563523" sldId="1119"/>
            <ac:spMk id="7" creationId="{037F128D-2CB2-2595-94EF-8C5F7E00E232}"/>
          </ac:spMkLst>
        </pc:spChg>
        <pc:spChg chg="add mod">
          <ac:chgData name="Maarit Merla" userId="5cfffc45-8724-4e8f-8661-ad90d644abc6" providerId="ADAL" clId="{A6E3345E-6A01-46EC-8479-F2C40665D0CA}" dt="2024-08-07T13:16:19.110" v="3362" actId="1076"/>
          <ac:spMkLst>
            <pc:docMk/>
            <pc:sldMk cId="1102563523" sldId="1119"/>
            <ac:spMk id="8" creationId="{1C82586A-A35E-A657-839D-C35F4ACC79DF}"/>
          </ac:spMkLst>
        </pc:spChg>
        <pc:graphicFrameChg chg="add mod">
          <ac:chgData name="Maarit Merla" userId="5cfffc45-8724-4e8f-8661-ad90d644abc6" providerId="ADAL" clId="{A6E3345E-6A01-46EC-8479-F2C40665D0CA}" dt="2024-08-07T13:22:48.896" v="3368"/>
          <ac:graphicFrameMkLst>
            <pc:docMk/>
            <pc:sldMk cId="1102563523" sldId="1119"/>
            <ac:graphicFrameMk id="5" creationId="{96A70277-AC2A-2F4C-3638-1887BFCB190F}"/>
          </ac:graphicFrameMkLst>
        </pc:graphicFrameChg>
      </pc:sldChg>
      <pc:sldChg chg="addSp delSp modSp new mod">
        <pc:chgData name="Maarit Merla" userId="5cfffc45-8724-4e8f-8661-ad90d644abc6" providerId="ADAL" clId="{A6E3345E-6A01-46EC-8479-F2C40665D0CA}" dt="2024-08-12T05:44:22.749" v="4105" actId="1036"/>
        <pc:sldMkLst>
          <pc:docMk/>
          <pc:sldMk cId="4230422379" sldId="1119"/>
        </pc:sldMkLst>
        <pc:spChg chg="del">
          <ac:chgData name="Maarit Merla" userId="5cfffc45-8724-4e8f-8661-ad90d644abc6" providerId="ADAL" clId="{A6E3345E-6A01-46EC-8479-F2C40665D0CA}" dt="2024-08-12T05:36:43.742" v="4076" actId="478"/>
          <ac:spMkLst>
            <pc:docMk/>
            <pc:sldMk cId="4230422379" sldId="1119"/>
            <ac:spMk id="2" creationId="{76C6A6F9-0689-E6C5-3CBA-22EC0DA0AB86}"/>
          </ac:spMkLst>
        </pc:spChg>
        <pc:spChg chg="del">
          <ac:chgData name="Maarit Merla" userId="5cfffc45-8724-4e8f-8661-ad90d644abc6" providerId="ADAL" clId="{A6E3345E-6A01-46EC-8479-F2C40665D0CA}" dt="2024-08-12T05:34:18.492" v="4072" actId="478"/>
          <ac:spMkLst>
            <pc:docMk/>
            <pc:sldMk cId="4230422379" sldId="1119"/>
            <ac:spMk id="3" creationId="{D2F5643E-56E6-314A-4FB8-DEC4601DE23F}"/>
          </ac:spMkLst>
        </pc:spChg>
        <pc:spChg chg="add mod">
          <ac:chgData name="Maarit Merla" userId="5cfffc45-8724-4e8f-8661-ad90d644abc6" providerId="ADAL" clId="{A6E3345E-6A01-46EC-8479-F2C40665D0CA}" dt="2024-08-12T05:44:22.749" v="4105" actId="1036"/>
          <ac:spMkLst>
            <pc:docMk/>
            <pc:sldMk cId="4230422379" sldId="1119"/>
            <ac:spMk id="7" creationId="{98C612B4-4F09-684A-6D0B-FF5850E48F2C}"/>
          </ac:spMkLst>
        </pc:spChg>
        <pc:graphicFrameChg chg="add mod modGraphic">
          <ac:chgData name="Maarit Merla" userId="5cfffc45-8724-4e8f-8661-ad90d644abc6" providerId="ADAL" clId="{A6E3345E-6A01-46EC-8479-F2C40665D0CA}" dt="2024-08-12T05:44:17.558" v="4103" actId="20577"/>
          <ac:graphicFrameMkLst>
            <pc:docMk/>
            <pc:sldMk cId="4230422379" sldId="1119"/>
            <ac:graphicFrameMk id="4" creationId="{86124A63-E32E-7511-6AE7-C1B94042297F}"/>
          </ac:graphicFrameMkLst>
        </pc:graphicFrameChg>
        <pc:picChg chg="add del mod">
          <ac:chgData name="Maarit Merla" userId="5cfffc45-8724-4e8f-8661-ad90d644abc6" providerId="ADAL" clId="{A6E3345E-6A01-46EC-8479-F2C40665D0CA}" dt="2024-08-12T05:36:22.945" v="4075" actId="478"/>
          <ac:picMkLst>
            <pc:docMk/>
            <pc:sldMk cId="4230422379" sldId="1119"/>
            <ac:picMk id="6" creationId="{8F1C1560-2451-5500-3C8D-B35EC2BEDD27}"/>
          </ac:picMkLst>
        </pc:picChg>
      </pc:sldChg>
      <pc:sldChg chg="addSp delSp modSp add mod">
        <pc:chgData name="Maarit Merla" userId="5cfffc45-8724-4e8f-8661-ad90d644abc6" providerId="ADAL" clId="{A6E3345E-6A01-46EC-8479-F2C40665D0CA}" dt="2024-08-12T05:52:30.651" v="4361" actId="1076"/>
        <pc:sldMkLst>
          <pc:docMk/>
          <pc:sldMk cId="2788728589" sldId="1120"/>
        </pc:sldMkLst>
        <pc:spChg chg="mod ord">
          <ac:chgData name="Maarit Merla" userId="5cfffc45-8724-4e8f-8661-ad90d644abc6" providerId="ADAL" clId="{A6E3345E-6A01-46EC-8479-F2C40665D0CA}" dt="2024-08-12T05:52:30.651" v="4361" actId="1076"/>
          <ac:spMkLst>
            <pc:docMk/>
            <pc:sldMk cId="2788728589" sldId="1120"/>
            <ac:spMk id="23" creationId="{0393E26C-A2EB-2C38-0492-3EFBB1D24DED}"/>
          </ac:spMkLst>
        </pc:spChg>
        <pc:spChg chg="mod">
          <ac:chgData name="Maarit Merla" userId="5cfffc45-8724-4e8f-8661-ad90d644abc6" providerId="ADAL" clId="{A6E3345E-6A01-46EC-8479-F2C40665D0CA}" dt="2024-08-12T05:48:40.306" v="4349" actId="6549"/>
          <ac:spMkLst>
            <pc:docMk/>
            <pc:sldMk cId="2788728589" sldId="1120"/>
            <ac:spMk id="24" creationId="{654E7BC0-E7EA-C028-7E1B-BF57876C3A43}"/>
          </ac:spMkLst>
        </pc:spChg>
        <pc:picChg chg="add mod">
          <ac:chgData name="Maarit Merla" userId="5cfffc45-8724-4e8f-8661-ad90d644abc6" providerId="ADAL" clId="{A6E3345E-6A01-46EC-8479-F2C40665D0CA}" dt="2024-08-12T05:52:11.850" v="4359" actId="207"/>
          <ac:picMkLst>
            <pc:docMk/>
            <pc:sldMk cId="2788728589" sldId="1120"/>
            <ac:picMk id="3" creationId="{B0242716-7513-AF1C-1210-C6D8D03C3FF0}"/>
          </ac:picMkLst>
        </pc:picChg>
        <pc:picChg chg="del">
          <ac:chgData name="Maarit Merla" userId="5cfffc45-8724-4e8f-8661-ad90d644abc6" providerId="ADAL" clId="{A6E3345E-6A01-46EC-8479-F2C40665D0CA}" dt="2024-08-12T05:48:47.747" v="4350" actId="478"/>
          <ac:picMkLst>
            <pc:docMk/>
            <pc:sldMk cId="2788728589" sldId="1120"/>
            <ac:picMk id="25" creationId="{C2E73EF7-2B26-395B-1D17-62D8E7D324B1}"/>
          </ac:picMkLst>
        </pc:picChg>
      </pc:sldChg>
      <pc:sldMasterChg chg="del delSldLayout">
        <pc:chgData name="Maarit Merla" userId="5cfffc45-8724-4e8f-8661-ad90d644abc6" providerId="ADAL" clId="{A6E3345E-6A01-46EC-8479-F2C40665D0CA}" dt="2024-08-06T11:04:05.026" v="135" actId="47"/>
        <pc:sldMasterMkLst>
          <pc:docMk/>
          <pc:sldMasterMk cId="2060017603" sldId="2147483648"/>
        </pc:sldMasterMkLst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3023507272" sldId="2147483649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3082148187" sldId="2147483657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2485597226" sldId="2147483658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1034791714" sldId="2147483660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210459718" sldId="2147483662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2652494697" sldId="2147483663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301958550" sldId="2147483664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1565641060" sldId="2147483665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4081041370" sldId="2147483666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2995721776" sldId="2147483667"/>
          </pc:sldLayoutMkLst>
        </pc:sldLayoutChg>
        <pc:sldLayoutChg chg="del">
          <pc:chgData name="Maarit Merla" userId="5cfffc45-8724-4e8f-8661-ad90d644abc6" providerId="ADAL" clId="{A6E3345E-6A01-46EC-8479-F2C40665D0CA}" dt="2024-08-06T11:04:05.026" v="135" actId="47"/>
          <pc:sldLayoutMkLst>
            <pc:docMk/>
            <pc:sldMasterMk cId="2060017603" sldId="2147483648"/>
            <pc:sldLayoutMk cId="563414818" sldId="2147483668"/>
          </pc:sldLayoutMkLst>
        </pc:sldLayoutChg>
      </pc:sldMasterChg>
    </pc:docChg>
  </pc:docChgLst>
</pc:chgInfo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svg"/><Relationship Id="rId1" Type="http://schemas.openxmlformats.org/officeDocument/2006/relationships/image" Target="../media/image34.png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image" Target="../media/image37.svg"/><Relationship Id="rId9" Type="http://schemas.openxmlformats.org/officeDocument/2006/relationships/image" Target="../media/image42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svg"/><Relationship Id="rId1" Type="http://schemas.openxmlformats.org/officeDocument/2006/relationships/image" Target="../media/image34.png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image" Target="../media/image37.svg"/><Relationship Id="rId9" Type="http://schemas.openxmlformats.org/officeDocument/2006/relationships/image" Target="../media/image4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F3731A-0D20-4666-8405-3F18BF887BED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778C41-8E80-49BD-969C-685C47917EA7}">
      <dgm:prSet custT="1"/>
      <dgm:spPr/>
      <dgm:t>
        <a:bodyPr/>
        <a:lstStyle/>
        <a:p>
          <a:r>
            <a:rPr lang="en-GB" sz="1600" dirty="0">
              <a:solidFill>
                <a:schemeClr val="accent2"/>
              </a:solidFill>
            </a:rPr>
            <a:t>Jyrki Liljeroos</a:t>
          </a:r>
          <a:r>
            <a:rPr lang="en-GB" sz="1600" dirty="0">
              <a:solidFill>
                <a:schemeClr val="tx1"/>
              </a:solidFill>
            </a:rPr>
            <a:t>, Senior Ministerial Adviser and Board Professional, Chairman </a:t>
          </a:r>
          <a:r>
            <a:rPr lang="en-GB" sz="1600" dirty="0"/>
            <a:t>of the Board</a:t>
          </a:r>
          <a:endParaRPr lang="en-US" sz="1600" dirty="0"/>
        </a:p>
      </dgm:t>
    </dgm:pt>
    <dgm:pt modelId="{15DAA8BB-6C16-4D28-8691-5B88B1D9FCF5}" type="parTrans" cxnId="{5C26F762-C7D3-4A8A-9C1E-25C40730E1C3}">
      <dgm:prSet/>
      <dgm:spPr/>
      <dgm:t>
        <a:bodyPr/>
        <a:lstStyle/>
        <a:p>
          <a:endParaRPr lang="en-US" sz="2000"/>
        </a:p>
      </dgm:t>
    </dgm:pt>
    <dgm:pt modelId="{F1F7DCC7-E15E-4A7A-8DD5-048DC5CE2819}" type="sibTrans" cxnId="{5C26F762-C7D3-4A8A-9C1E-25C40730E1C3}">
      <dgm:prSet/>
      <dgm:spPr/>
      <dgm:t>
        <a:bodyPr/>
        <a:lstStyle/>
        <a:p>
          <a:endParaRPr lang="en-US" sz="2000"/>
        </a:p>
      </dgm:t>
    </dgm:pt>
    <dgm:pt modelId="{12717CC1-E156-412C-B431-2F860ABFE5E5}">
      <dgm:prSet custT="1"/>
      <dgm:spPr/>
      <dgm:t>
        <a:bodyPr/>
        <a:lstStyle/>
        <a:p>
          <a:r>
            <a:rPr lang="en-GB" sz="1600" dirty="0">
              <a:solidFill>
                <a:schemeClr val="accent2"/>
              </a:solidFill>
            </a:rPr>
            <a:t>Liisa Huhtala</a:t>
          </a:r>
          <a:r>
            <a:rPr lang="en-GB" sz="1600" dirty="0"/>
            <a:t>, Senior Ministerial Adviser at the Ministry of Economic Affairs and Employment, Vice-Chair of the Board </a:t>
          </a:r>
          <a:endParaRPr lang="en-US" sz="1600" dirty="0"/>
        </a:p>
      </dgm:t>
    </dgm:pt>
    <dgm:pt modelId="{5A37900B-06F1-42C5-B1D2-1B7F3443797E}" type="parTrans" cxnId="{BADF4D85-FAC1-49AD-808F-5AE9ABB0F3A0}">
      <dgm:prSet/>
      <dgm:spPr/>
      <dgm:t>
        <a:bodyPr/>
        <a:lstStyle/>
        <a:p>
          <a:endParaRPr lang="en-US" sz="2000"/>
        </a:p>
      </dgm:t>
    </dgm:pt>
    <dgm:pt modelId="{C41ECAA1-A537-4CE3-8290-7FB5FA3D91FA}" type="sibTrans" cxnId="{BADF4D85-FAC1-49AD-808F-5AE9ABB0F3A0}">
      <dgm:prSet/>
      <dgm:spPr/>
      <dgm:t>
        <a:bodyPr/>
        <a:lstStyle/>
        <a:p>
          <a:endParaRPr lang="en-US" sz="2000"/>
        </a:p>
      </dgm:t>
    </dgm:pt>
    <dgm:pt modelId="{DD4C297C-2BFC-4924-B1B8-B90C84BD2D9E}">
      <dgm:prSet custT="1"/>
      <dgm:spPr/>
      <dgm:t>
        <a:bodyPr/>
        <a:lstStyle/>
        <a:p>
          <a:r>
            <a:rPr lang="en-GB" sz="1600" dirty="0">
              <a:solidFill>
                <a:schemeClr val="accent2"/>
              </a:solidFill>
            </a:rPr>
            <a:t>Tuula Helander</a:t>
          </a:r>
          <a:r>
            <a:rPr lang="en-GB" sz="1600" dirty="0"/>
            <a:t>, Deputy Director General, Biotechnology and Medicines unit, </a:t>
          </a:r>
          <a:r>
            <a:rPr lang="en-GB" sz="1600" b="0" i="0" dirty="0"/>
            <a:t>Ministry of Social Affairs and Health</a:t>
          </a:r>
          <a:endParaRPr lang="en-US" sz="1600" dirty="0"/>
        </a:p>
      </dgm:t>
    </dgm:pt>
    <dgm:pt modelId="{FB47041A-A6BB-4952-8D73-B8001E09FA85}" type="parTrans" cxnId="{FF15ADD4-4163-4D8F-93F7-9DD7376DA57E}">
      <dgm:prSet/>
      <dgm:spPr/>
      <dgm:t>
        <a:bodyPr/>
        <a:lstStyle/>
        <a:p>
          <a:endParaRPr lang="en-US" sz="2000"/>
        </a:p>
      </dgm:t>
    </dgm:pt>
    <dgm:pt modelId="{AB63E2B0-14C7-4394-8781-61236EFF0FF8}" type="sibTrans" cxnId="{FF15ADD4-4163-4D8F-93F7-9DD7376DA57E}">
      <dgm:prSet/>
      <dgm:spPr/>
      <dgm:t>
        <a:bodyPr/>
        <a:lstStyle/>
        <a:p>
          <a:endParaRPr lang="en-US" sz="2000"/>
        </a:p>
      </dgm:t>
    </dgm:pt>
    <dgm:pt modelId="{04380158-71D7-4EC0-BE9C-C28D1C6E0A07}">
      <dgm:prSet custT="1"/>
      <dgm:spPr/>
      <dgm:t>
        <a:bodyPr/>
        <a:lstStyle/>
        <a:p>
          <a:r>
            <a:rPr lang="en-GB" sz="1600" dirty="0">
              <a:solidFill>
                <a:schemeClr val="accent2"/>
              </a:solidFill>
            </a:rPr>
            <a:t>Terhi Horppu</a:t>
          </a:r>
          <a:r>
            <a:rPr lang="en-GB" sz="1600" dirty="0"/>
            <a:t>, CFO, Blueprint Genetics Ltd</a:t>
          </a:r>
          <a:endParaRPr lang="en-US" sz="1600" dirty="0"/>
        </a:p>
      </dgm:t>
    </dgm:pt>
    <dgm:pt modelId="{93B544C9-BF40-4F03-96E5-62DFAED2D5E9}" type="parTrans" cxnId="{C4C9087E-CB5F-4A4F-B863-807A6CC57F3F}">
      <dgm:prSet/>
      <dgm:spPr/>
      <dgm:t>
        <a:bodyPr/>
        <a:lstStyle/>
        <a:p>
          <a:endParaRPr lang="en-US" sz="2000"/>
        </a:p>
      </dgm:t>
    </dgm:pt>
    <dgm:pt modelId="{90D63997-6703-4790-8EC2-E8C4C5FA9437}" type="sibTrans" cxnId="{C4C9087E-CB5F-4A4F-B863-807A6CC57F3F}">
      <dgm:prSet/>
      <dgm:spPr/>
      <dgm:t>
        <a:bodyPr/>
        <a:lstStyle/>
        <a:p>
          <a:endParaRPr lang="en-US" sz="2000"/>
        </a:p>
      </dgm:t>
    </dgm:pt>
    <dgm:pt modelId="{61563AD5-E4F0-4091-8DBA-260ED7F198E7}">
      <dgm:prSet custT="1"/>
      <dgm:spPr/>
      <dgm:t>
        <a:bodyPr/>
        <a:lstStyle/>
        <a:p>
          <a:r>
            <a:rPr lang="en-GB" sz="1600" dirty="0">
              <a:solidFill>
                <a:schemeClr val="accent2"/>
              </a:solidFill>
            </a:rPr>
            <a:t>Anne Portaankorva</a:t>
          </a:r>
          <a:r>
            <a:rPr lang="en-GB" sz="1600" dirty="0"/>
            <a:t>, </a:t>
          </a:r>
          <a:r>
            <a:rPr lang="en-GB" sz="1600" b="0" i="0" dirty="0"/>
            <a:t>Vice Rector for Research and Sustainability, Professor in Neurology, University of Helsinki</a:t>
          </a:r>
          <a:endParaRPr lang="en-US" sz="1600" dirty="0">
            <a:highlight>
              <a:srgbClr val="FFFF00"/>
            </a:highlight>
          </a:endParaRPr>
        </a:p>
      </dgm:t>
    </dgm:pt>
    <dgm:pt modelId="{0AE5BB35-FDED-4854-8E13-6B49297ECF42}" type="parTrans" cxnId="{61F6E753-E11C-489F-8521-909190EB1588}">
      <dgm:prSet/>
      <dgm:spPr/>
      <dgm:t>
        <a:bodyPr/>
        <a:lstStyle/>
        <a:p>
          <a:endParaRPr lang="en-US" sz="2000"/>
        </a:p>
      </dgm:t>
    </dgm:pt>
    <dgm:pt modelId="{03236BB2-FD3D-4892-BE88-E91DF9ED4028}" type="sibTrans" cxnId="{61F6E753-E11C-489F-8521-909190EB1588}">
      <dgm:prSet/>
      <dgm:spPr/>
      <dgm:t>
        <a:bodyPr/>
        <a:lstStyle/>
        <a:p>
          <a:endParaRPr lang="en-US" sz="2000"/>
        </a:p>
      </dgm:t>
    </dgm:pt>
    <dgm:pt modelId="{2438A6D1-DFBB-4B1C-B314-3FA0044F614D}">
      <dgm:prSet custT="1"/>
      <dgm:spPr/>
      <dgm:t>
        <a:bodyPr/>
        <a:lstStyle/>
        <a:p>
          <a:r>
            <a:rPr lang="en-GB" sz="1600" dirty="0">
              <a:solidFill>
                <a:schemeClr val="accent2"/>
              </a:solidFill>
            </a:rPr>
            <a:t>Ilpo Tolonen</a:t>
          </a:r>
          <a:r>
            <a:rPr lang="en-GB" sz="1600" dirty="0"/>
            <a:t>, CEO, </a:t>
          </a:r>
          <a:r>
            <a:rPr lang="en-GB" sz="1600" dirty="0" err="1"/>
            <a:t>Docrates</a:t>
          </a:r>
          <a:r>
            <a:rPr lang="en-GB" sz="1600" dirty="0"/>
            <a:t> Cancer Center</a:t>
          </a:r>
          <a:endParaRPr lang="en-US" sz="1600" dirty="0"/>
        </a:p>
      </dgm:t>
    </dgm:pt>
    <dgm:pt modelId="{A6D8AAD1-D6DE-404B-A21B-CCCD28A638C8}" type="parTrans" cxnId="{1E9AF230-4E84-4B3B-8785-3D55CB6757D6}">
      <dgm:prSet/>
      <dgm:spPr/>
      <dgm:t>
        <a:bodyPr/>
        <a:lstStyle/>
        <a:p>
          <a:endParaRPr lang="en-US" sz="2000"/>
        </a:p>
      </dgm:t>
    </dgm:pt>
    <dgm:pt modelId="{89939433-48A6-4CE0-96D2-D27D6ACD96EC}" type="sibTrans" cxnId="{1E9AF230-4E84-4B3B-8785-3D55CB6757D6}">
      <dgm:prSet/>
      <dgm:spPr/>
      <dgm:t>
        <a:bodyPr/>
        <a:lstStyle/>
        <a:p>
          <a:endParaRPr lang="en-US" sz="2000"/>
        </a:p>
      </dgm:t>
    </dgm:pt>
    <dgm:pt modelId="{AFD1852C-0F03-4518-AB2F-421E38E262F6}">
      <dgm:prSet custT="1"/>
      <dgm:spPr/>
      <dgm:t>
        <a:bodyPr/>
        <a:lstStyle/>
        <a:p>
          <a:r>
            <a:rPr lang="en-GB" sz="1600" dirty="0">
              <a:solidFill>
                <a:schemeClr val="accent2"/>
              </a:solidFill>
            </a:rPr>
            <a:t>Jukka Westermarck</a:t>
          </a:r>
          <a:r>
            <a:rPr lang="en-GB" sz="1600" dirty="0"/>
            <a:t>, Professor, cancer biology, University of Turku</a:t>
          </a:r>
          <a:endParaRPr lang="en-US" sz="1600" dirty="0"/>
        </a:p>
      </dgm:t>
    </dgm:pt>
    <dgm:pt modelId="{6DF5D66D-1742-4DA5-B26F-27594022E368}" type="parTrans" cxnId="{4F0A2823-E980-4944-ABCD-D5C062A77573}">
      <dgm:prSet/>
      <dgm:spPr/>
      <dgm:t>
        <a:bodyPr/>
        <a:lstStyle/>
        <a:p>
          <a:endParaRPr lang="en-US" sz="2000"/>
        </a:p>
      </dgm:t>
    </dgm:pt>
    <dgm:pt modelId="{5780A5B4-F4BE-4D05-9A53-46B24D3A7E9F}" type="sibTrans" cxnId="{4F0A2823-E980-4944-ABCD-D5C062A77573}">
      <dgm:prSet/>
      <dgm:spPr/>
      <dgm:t>
        <a:bodyPr/>
        <a:lstStyle/>
        <a:p>
          <a:endParaRPr lang="en-US" sz="2000"/>
        </a:p>
      </dgm:t>
    </dgm:pt>
    <dgm:pt modelId="{6732E608-E9D4-46BD-923C-6FC9029F857F}">
      <dgm:prSet custT="1"/>
      <dgm:spPr/>
      <dgm:t>
        <a:bodyPr/>
        <a:lstStyle/>
        <a:p>
          <a:r>
            <a:rPr lang="en-US" sz="1600" dirty="0"/>
            <a:t>Board secretary: Tarja Enala, Head of Health 360 program, Business Finland</a:t>
          </a:r>
          <a:endParaRPr lang="en-US" sz="1600" dirty="0">
            <a:highlight>
              <a:srgbClr val="FFFF00"/>
            </a:highlight>
          </a:endParaRPr>
        </a:p>
      </dgm:t>
    </dgm:pt>
    <dgm:pt modelId="{0D86218E-68CC-4885-8D75-D586039162D0}" type="parTrans" cxnId="{A3D67637-2DD7-47F5-9521-D2BFD745F478}">
      <dgm:prSet/>
      <dgm:spPr/>
      <dgm:t>
        <a:bodyPr/>
        <a:lstStyle/>
        <a:p>
          <a:endParaRPr lang="fi-FI" sz="2000"/>
        </a:p>
      </dgm:t>
    </dgm:pt>
    <dgm:pt modelId="{3A6948EA-2BE7-4A99-82BD-1E1553429848}" type="sibTrans" cxnId="{A3D67637-2DD7-47F5-9521-D2BFD745F478}">
      <dgm:prSet/>
      <dgm:spPr/>
      <dgm:t>
        <a:bodyPr/>
        <a:lstStyle/>
        <a:p>
          <a:endParaRPr lang="fi-FI" sz="2000"/>
        </a:p>
      </dgm:t>
    </dgm:pt>
    <dgm:pt modelId="{CC3F1DA8-2822-4AB1-803C-FA21ADAD61E3}">
      <dgm:prSet custT="1"/>
      <dgm:spPr/>
      <dgm:t>
        <a:bodyPr/>
        <a:lstStyle/>
        <a:p>
          <a:endParaRPr lang="en-US" sz="1600" dirty="0"/>
        </a:p>
      </dgm:t>
    </dgm:pt>
    <dgm:pt modelId="{35EA565A-73BB-4032-A8BA-183B2A5E92DF}" type="parTrans" cxnId="{A25FCB8F-5968-4041-A9FB-559911386405}">
      <dgm:prSet/>
      <dgm:spPr/>
      <dgm:t>
        <a:bodyPr/>
        <a:lstStyle/>
        <a:p>
          <a:endParaRPr lang="fi-FI" sz="2000"/>
        </a:p>
      </dgm:t>
    </dgm:pt>
    <dgm:pt modelId="{9CDA7420-D75B-480C-933A-2881949E2346}" type="sibTrans" cxnId="{A25FCB8F-5968-4041-A9FB-559911386405}">
      <dgm:prSet/>
      <dgm:spPr/>
      <dgm:t>
        <a:bodyPr/>
        <a:lstStyle/>
        <a:p>
          <a:endParaRPr lang="fi-FI" sz="2000"/>
        </a:p>
      </dgm:t>
    </dgm:pt>
    <dgm:pt modelId="{A7F57FD2-FD55-46A9-A2BD-552BF171BB5F}" type="pres">
      <dgm:prSet presAssocID="{5AF3731A-0D20-4666-8405-3F18BF887BED}" presName="vert0" presStyleCnt="0">
        <dgm:presLayoutVars>
          <dgm:dir/>
          <dgm:animOne val="branch"/>
          <dgm:animLvl val="lvl"/>
        </dgm:presLayoutVars>
      </dgm:prSet>
      <dgm:spPr/>
    </dgm:pt>
    <dgm:pt modelId="{75EAB895-38AF-4B06-821E-07C3234984F3}" type="pres">
      <dgm:prSet presAssocID="{87778C41-8E80-49BD-969C-685C47917EA7}" presName="thickLine" presStyleLbl="alignNode1" presStyleIdx="0" presStyleCnt="9"/>
      <dgm:spPr/>
    </dgm:pt>
    <dgm:pt modelId="{CA1712E5-40B0-45BD-AAB5-F8C01B0A854C}" type="pres">
      <dgm:prSet presAssocID="{87778C41-8E80-49BD-969C-685C47917EA7}" presName="horz1" presStyleCnt="0"/>
      <dgm:spPr/>
    </dgm:pt>
    <dgm:pt modelId="{5C0D8B86-2323-4B81-B807-C551498AA0BE}" type="pres">
      <dgm:prSet presAssocID="{87778C41-8E80-49BD-969C-685C47917EA7}" presName="tx1" presStyleLbl="revTx" presStyleIdx="0" presStyleCnt="9" custLinFactNeighborX="-3571" custLinFactNeighborY="-1904"/>
      <dgm:spPr/>
    </dgm:pt>
    <dgm:pt modelId="{EAF33E61-918B-4BEF-924C-3E57E368008A}" type="pres">
      <dgm:prSet presAssocID="{87778C41-8E80-49BD-969C-685C47917EA7}" presName="vert1" presStyleCnt="0"/>
      <dgm:spPr/>
    </dgm:pt>
    <dgm:pt modelId="{78D63585-6D68-4705-A0F6-AC27E49CB4F6}" type="pres">
      <dgm:prSet presAssocID="{12717CC1-E156-412C-B431-2F860ABFE5E5}" presName="thickLine" presStyleLbl="alignNode1" presStyleIdx="1" presStyleCnt="9"/>
      <dgm:spPr/>
    </dgm:pt>
    <dgm:pt modelId="{155191CB-431C-4D44-B3EE-A92576410B9F}" type="pres">
      <dgm:prSet presAssocID="{12717CC1-E156-412C-B431-2F860ABFE5E5}" presName="horz1" presStyleCnt="0"/>
      <dgm:spPr/>
    </dgm:pt>
    <dgm:pt modelId="{E7A5C59A-28BC-47F8-B120-29ADE401E560}" type="pres">
      <dgm:prSet presAssocID="{12717CC1-E156-412C-B431-2F860ABFE5E5}" presName="tx1" presStyleLbl="revTx" presStyleIdx="1" presStyleCnt="9"/>
      <dgm:spPr/>
    </dgm:pt>
    <dgm:pt modelId="{F72B7054-6D85-49A6-9303-DB1FE5CEAC9D}" type="pres">
      <dgm:prSet presAssocID="{12717CC1-E156-412C-B431-2F860ABFE5E5}" presName="vert1" presStyleCnt="0"/>
      <dgm:spPr/>
    </dgm:pt>
    <dgm:pt modelId="{8AE5C0D6-D0B3-432E-8B20-3B5DBAADD7EE}" type="pres">
      <dgm:prSet presAssocID="{DD4C297C-2BFC-4924-B1B8-B90C84BD2D9E}" presName="thickLine" presStyleLbl="alignNode1" presStyleIdx="2" presStyleCnt="9"/>
      <dgm:spPr/>
    </dgm:pt>
    <dgm:pt modelId="{2595CBC0-1CDF-44FB-960B-94DB4ED98266}" type="pres">
      <dgm:prSet presAssocID="{DD4C297C-2BFC-4924-B1B8-B90C84BD2D9E}" presName="horz1" presStyleCnt="0"/>
      <dgm:spPr/>
    </dgm:pt>
    <dgm:pt modelId="{ECD7B1A3-4773-4786-9476-0DB6284D8DD1}" type="pres">
      <dgm:prSet presAssocID="{DD4C297C-2BFC-4924-B1B8-B90C84BD2D9E}" presName="tx1" presStyleLbl="revTx" presStyleIdx="2" presStyleCnt="9"/>
      <dgm:spPr/>
    </dgm:pt>
    <dgm:pt modelId="{8E28971F-3805-4F83-B84E-6999A3720941}" type="pres">
      <dgm:prSet presAssocID="{DD4C297C-2BFC-4924-B1B8-B90C84BD2D9E}" presName="vert1" presStyleCnt="0"/>
      <dgm:spPr/>
    </dgm:pt>
    <dgm:pt modelId="{3E4B775B-BA09-438B-B8AD-C450EE6C0624}" type="pres">
      <dgm:prSet presAssocID="{04380158-71D7-4EC0-BE9C-C28D1C6E0A07}" presName="thickLine" presStyleLbl="alignNode1" presStyleIdx="3" presStyleCnt="9"/>
      <dgm:spPr/>
    </dgm:pt>
    <dgm:pt modelId="{D03ABB3D-3E3C-410D-A81A-90987E2D55F8}" type="pres">
      <dgm:prSet presAssocID="{04380158-71D7-4EC0-BE9C-C28D1C6E0A07}" presName="horz1" presStyleCnt="0"/>
      <dgm:spPr/>
    </dgm:pt>
    <dgm:pt modelId="{CABB782F-C10A-49BB-B60E-704C106769FE}" type="pres">
      <dgm:prSet presAssocID="{04380158-71D7-4EC0-BE9C-C28D1C6E0A07}" presName="tx1" presStyleLbl="revTx" presStyleIdx="3" presStyleCnt="9"/>
      <dgm:spPr/>
    </dgm:pt>
    <dgm:pt modelId="{80974DC8-A2FD-451D-A51C-5854E76B1E2B}" type="pres">
      <dgm:prSet presAssocID="{04380158-71D7-4EC0-BE9C-C28D1C6E0A07}" presName="vert1" presStyleCnt="0"/>
      <dgm:spPr/>
    </dgm:pt>
    <dgm:pt modelId="{D042B10D-2791-4F94-85C1-B78282CBA63F}" type="pres">
      <dgm:prSet presAssocID="{61563AD5-E4F0-4091-8DBA-260ED7F198E7}" presName="thickLine" presStyleLbl="alignNode1" presStyleIdx="4" presStyleCnt="9"/>
      <dgm:spPr/>
    </dgm:pt>
    <dgm:pt modelId="{31901BA8-7F6E-4078-9DEA-E32B2192680C}" type="pres">
      <dgm:prSet presAssocID="{61563AD5-E4F0-4091-8DBA-260ED7F198E7}" presName="horz1" presStyleCnt="0"/>
      <dgm:spPr/>
    </dgm:pt>
    <dgm:pt modelId="{B6EB9A00-7E29-47D5-951A-F8376EA53281}" type="pres">
      <dgm:prSet presAssocID="{61563AD5-E4F0-4091-8DBA-260ED7F198E7}" presName="tx1" presStyleLbl="revTx" presStyleIdx="4" presStyleCnt="9"/>
      <dgm:spPr/>
    </dgm:pt>
    <dgm:pt modelId="{12E47E0A-5C9D-4C0B-B471-B1319C772B15}" type="pres">
      <dgm:prSet presAssocID="{61563AD5-E4F0-4091-8DBA-260ED7F198E7}" presName="vert1" presStyleCnt="0"/>
      <dgm:spPr/>
    </dgm:pt>
    <dgm:pt modelId="{483919CC-5269-4386-9557-6132254E2D5F}" type="pres">
      <dgm:prSet presAssocID="{2438A6D1-DFBB-4B1C-B314-3FA0044F614D}" presName="thickLine" presStyleLbl="alignNode1" presStyleIdx="5" presStyleCnt="9"/>
      <dgm:spPr/>
    </dgm:pt>
    <dgm:pt modelId="{03AA1E31-BEBD-48FB-AF0C-8233B576C04A}" type="pres">
      <dgm:prSet presAssocID="{2438A6D1-DFBB-4B1C-B314-3FA0044F614D}" presName="horz1" presStyleCnt="0"/>
      <dgm:spPr/>
    </dgm:pt>
    <dgm:pt modelId="{84F283FC-4400-412C-BF5D-76E15BD2E4D7}" type="pres">
      <dgm:prSet presAssocID="{2438A6D1-DFBB-4B1C-B314-3FA0044F614D}" presName="tx1" presStyleLbl="revTx" presStyleIdx="5" presStyleCnt="9"/>
      <dgm:spPr/>
    </dgm:pt>
    <dgm:pt modelId="{0F6FA7FA-CC07-49EF-8B4F-96591EC1B408}" type="pres">
      <dgm:prSet presAssocID="{2438A6D1-DFBB-4B1C-B314-3FA0044F614D}" presName="vert1" presStyleCnt="0"/>
      <dgm:spPr/>
    </dgm:pt>
    <dgm:pt modelId="{7D1F0902-18C9-4065-AC47-6C0706C9AD7F}" type="pres">
      <dgm:prSet presAssocID="{AFD1852C-0F03-4518-AB2F-421E38E262F6}" presName="thickLine" presStyleLbl="alignNode1" presStyleIdx="6" presStyleCnt="9"/>
      <dgm:spPr/>
    </dgm:pt>
    <dgm:pt modelId="{86EDAAE2-139E-4785-A811-212D173FBC51}" type="pres">
      <dgm:prSet presAssocID="{AFD1852C-0F03-4518-AB2F-421E38E262F6}" presName="horz1" presStyleCnt="0"/>
      <dgm:spPr/>
    </dgm:pt>
    <dgm:pt modelId="{6C48DD15-4DAD-4CBD-BEAE-4D15F9D9CCEB}" type="pres">
      <dgm:prSet presAssocID="{AFD1852C-0F03-4518-AB2F-421E38E262F6}" presName="tx1" presStyleLbl="revTx" presStyleIdx="6" presStyleCnt="9"/>
      <dgm:spPr/>
    </dgm:pt>
    <dgm:pt modelId="{ACDEC29F-BD59-49F7-B90A-07DE40BE57A8}" type="pres">
      <dgm:prSet presAssocID="{AFD1852C-0F03-4518-AB2F-421E38E262F6}" presName="vert1" presStyleCnt="0"/>
      <dgm:spPr/>
    </dgm:pt>
    <dgm:pt modelId="{8916FD8B-185A-4FF4-B21B-B8FD7B628AF2}" type="pres">
      <dgm:prSet presAssocID="{CC3F1DA8-2822-4AB1-803C-FA21ADAD61E3}" presName="thickLine" presStyleLbl="alignNode1" presStyleIdx="7" presStyleCnt="9"/>
      <dgm:spPr/>
    </dgm:pt>
    <dgm:pt modelId="{66254D0A-2C89-4149-B025-DE8993238497}" type="pres">
      <dgm:prSet presAssocID="{CC3F1DA8-2822-4AB1-803C-FA21ADAD61E3}" presName="horz1" presStyleCnt="0"/>
      <dgm:spPr/>
    </dgm:pt>
    <dgm:pt modelId="{051CF803-DEB4-4E12-B921-279A63A1CF1C}" type="pres">
      <dgm:prSet presAssocID="{CC3F1DA8-2822-4AB1-803C-FA21ADAD61E3}" presName="tx1" presStyleLbl="revTx" presStyleIdx="7" presStyleCnt="9"/>
      <dgm:spPr/>
    </dgm:pt>
    <dgm:pt modelId="{2CCD772F-C7FB-46DB-AAFF-C551DB79A7D2}" type="pres">
      <dgm:prSet presAssocID="{CC3F1DA8-2822-4AB1-803C-FA21ADAD61E3}" presName="vert1" presStyleCnt="0"/>
      <dgm:spPr/>
    </dgm:pt>
    <dgm:pt modelId="{8A69CBE2-93B8-466F-899D-29B380A0899D}" type="pres">
      <dgm:prSet presAssocID="{6732E608-E9D4-46BD-923C-6FC9029F857F}" presName="thickLine" presStyleLbl="alignNode1" presStyleIdx="8" presStyleCnt="9"/>
      <dgm:spPr/>
    </dgm:pt>
    <dgm:pt modelId="{0E015863-ED42-4568-B32A-A1F06DD0FBDE}" type="pres">
      <dgm:prSet presAssocID="{6732E608-E9D4-46BD-923C-6FC9029F857F}" presName="horz1" presStyleCnt="0"/>
      <dgm:spPr/>
    </dgm:pt>
    <dgm:pt modelId="{6C1253A1-2E89-4B50-9511-0048BD18CF79}" type="pres">
      <dgm:prSet presAssocID="{6732E608-E9D4-46BD-923C-6FC9029F857F}" presName="tx1" presStyleLbl="revTx" presStyleIdx="8" presStyleCnt="9" custScaleY="99861"/>
      <dgm:spPr/>
    </dgm:pt>
    <dgm:pt modelId="{ABE6C258-EC8E-4C2C-BB0A-C89D3AEBD06F}" type="pres">
      <dgm:prSet presAssocID="{6732E608-E9D4-46BD-923C-6FC9029F857F}" presName="vert1" presStyleCnt="0"/>
      <dgm:spPr/>
    </dgm:pt>
  </dgm:ptLst>
  <dgm:cxnLst>
    <dgm:cxn modelId="{4F0A2823-E980-4944-ABCD-D5C062A77573}" srcId="{5AF3731A-0D20-4666-8405-3F18BF887BED}" destId="{AFD1852C-0F03-4518-AB2F-421E38E262F6}" srcOrd="6" destOrd="0" parTransId="{6DF5D66D-1742-4DA5-B26F-27594022E368}" sibTransId="{5780A5B4-F4BE-4D05-9A53-46B24D3A7E9F}"/>
    <dgm:cxn modelId="{1E9AF230-4E84-4B3B-8785-3D55CB6757D6}" srcId="{5AF3731A-0D20-4666-8405-3F18BF887BED}" destId="{2438A6D1-DFBB-4B1C-B314-3FA0044F614D}" srcOrd="5" destOrd="0" parTransId="{A6D8AAD1-D6DE-404B-A21B-CCCD28A638C8}" sibTransId="{89939433-48A6-4CE0-96D2-D27D6ACD96EC}"/>
    <dgm:cxn modelId="{A3D67637-2DD7-47F5-9521-D2BFD745F478}" srcId="{5AF3731A-0D20-4666-8405-3F18BF887BED}" destId="{6732E608-E9D4-46BD-923C-6FC9029F857F}" srcOrd="8" destOrd="0" parTransId="{0D86218E-68CC-4885-8D75-D586039162D0}" sibTransId="{3A6948EA-2BE7-4A99-82BD-1E1553429848}"/>
    <dgm:cxn modelId="{5C26F762-C7D3-4A8A-9C1E-25C40730E1C3}" srcId="{5AF3731A-0D20-4666-8405-3F18BF887BED}" destId="{87778C41-8E80-49BD-969C-685C47917EA7}" srcOrd="0" destOrd="0" parTransId="{15DAA8BB-6C16-4D28-8691-5B88B1D9FCF5}" sibTransId="{F1F7DCC7-E15E-4A7A-8DD5-048DC5CE2819}"/>
    <dgm:cxn modelId="{CF766D68-3644-410B-9C9A-8973F7FAD3E9}" type="presOf" srcId="{61563AD5-E4F0-4091-8DBA-260ED7F198E7}" destId="{B6EB9A00-7E29-47D5-951A-F8376EA53281}" srcOrd="0" destOrd="0" presId="urn:microsoft.com/office/officeart/2008/layout/LinedList"/>
    <dgm:cxn modelId="{EFF7EF48-61A5-481C-B46B-319511BEADD1}" type="presOf" srcId="{87778C41-8E80-49BD-969C-685C47917EA7}" destId="{5C0D8B86-2323-4B81-B807-C551498AA0BE}" srcOrd="0" destOrd="0" presId="urn:microsoft.com/office/officeart/2008/layout/LinedList"/>
    <dgm:cxn modelId="{E6D2366C-FD57-40D1-AD4C-544CBEEE4AD5}" type="presOf" srcId="{AFD1852C-0F03-4518-AB2F-421E38E262F6}" destId="{6C48DD15-4DAD-4CBD-BEAE-4D15F9D9CCEB}" srcOrd="0" destOrd="0" presId="urn:microsoft.com/office/officeart/2008/layout/LinedList"/>
    <dgm:cxn modelId="{CFC31E6D-8F79-4068-97DC-11D9290BC0F1}" type="presOf" srcId="{6732E608-E9D4-46BD-923C-6FC9029F857F}" destId="{6C1253A1-2E89-4B50-9511-0048BD18CF79}" srcOrd="0" destOrd="0" presId="urn:microsoft.com/office/officeart/2008/layout/LinedList"/>
    <dgm:cxn modelId="{C74B3A6D-956C-4D28-B734-9FC66F27A420}" type="presOf" srcId="{04380158-71D7-4EC0-BE9C-C28D1C6E0A07}" destId="{CABB782F-C10A-49BB-B60E-704C106769FE}" srcOrd="0" destOrd="0" presId="urn:microsoft.com/office/officeart/2008/layout/LinedList"/>
    <dgm:cxn modelId="{61F6E753-E11C-489F-8521-909190EB1588}" srcId="{5AF3731A-0D20-4666-8405-3F18BF887BED}" destId="{61563AD5-E4F0-4091-8DBA-260ED7F198E7}" srcOrd="4" destOrd="0" parTransId="{0AE5BB35-FDED-4854-8E13-6B49297ECF42}" sibTransId="{03236BB2-FD3D-4892-BE88-E91DF9ED4028}"/>
    <dgm:cxn modelId="{CAC03077-E882-4341-92C2-612EC8694919}" type="presOf" srcId="{2438A6D1-DFBB-4B1C-B314-3FA0044F614D}" destId="{84F283FC-4400-412C-BF5D-76E15BD2E4D7}" srcOrd="0" destOrd="0" presId="urn:microsoft.com/office/officeart/2008/layout/LinedList"/>
    <dgm:cxn modelId="{C4C9087E-CB5F-4A4F-B863-807A6CC57F3F}" srcId="{5AF3731A-0D20-4666-8405-3F18BF887BED}" destId="{04380158-71D7-4EC0-BE9C-C28D1C6E0A07}" srcOrd="3" destOrd="0" parTransId="{93B544C9-BF40-4F03-96E5-62DFAED2D5E9}" sibTransId="{90D63997-6703-4790-8EC2-E8C4C5FA9437}"/>
    <dgm:cxn modelId="{E459E47E-788E-4B76-91A4-E2236E76A0D8}" type="presOf" srcId="{5AF3731A-0D20-4666-8405-3F18BF887BED}" destId="{A7F57FD2-FD55-46A9-A2BD-552BF171BB5F}" srcOrd="0" destOrd="0" presId="urn:microsoft.com/office/officeart/2008/layout/LinedList"/>
    <dgm:cxn modelId="{BADF4D85-FAC1-49AD-808F-5AE9ABB0F3A0}" srcId="{5AF3731A-0D20-4666-8405-3F18BF887BED}" destId="{12717CC1-E156-412C-B431-2F860ABFE5E5}" srcOrd="1" destOrd="0" parTransId="{5A37900B-06F1-42C5-B1D2-1B7F3443797E}" sibTransId="{C41ECAA1-A537-4CE3-8290-7FB5FA3D91FA}"/>
    <dgm:cxn modelId="{A25FCB8F-5968-4041-A9FB-559911386405}" srcId="{5AF3731A-0D20-4666-8405-3F18BF887BED}" destId="{CC3F1DA8-2822-4AB1-803C-FA21ADAD61E3}" srcOrd="7" destOrd="0" parTransId="{35EA565A-73BB-4032-A8BA-183B2A5E92DF}" sibTransId="{9CDA7420-D75B-480C-933A-2881949E2346}"/>
    <dgm:cxn modelId="{BD2274A3-7A8E-45D5-9308-A4B559A0A07B}" type="presOf" srcId="{12717CC1-E156-412C-B431-2F860ABFE5E5}" destId="{E7A5C59A-28BC-47F8-B120-29ADE401E560}" srcOrd="0" destOrd="0" presId="urn:microsoft.com/office/officeart/2008/layout/LinedList"/>
    <dgm:cxn modelId="{CC4B33A8-5BEC-405A-91FC-A26F9F48D4A1}" type="presOf" srcId="{CC3F1DA8-2822-4AB1-803C-FA21ADAD61E3}" destId="{051CF803-DEB4-4E12-B921-279A63A1CF1C}" srcOrd="0" destOrd="0" presId="urn:microsoft.com/office/officeart/2008/layout/LinedList"/>
    <dgm:cxn modelId="{FF15ADD4-4163-4D8F-93F7-9DD7376DA57E}" srcId="{5AF3731A-0D20-4666-8405-3F18BF887BED}" destId="{DD4C297C-2BFC-4924-B1B8-B90C84BD2D9E}" srcOrd="2" destOrd="0" parTransId="{FB47041A-A6BB-4952-8D73-B8001E09FA85}" sibTransId="{AB63E2B0-14C7-4394-8781-61236EFF0FF8}"/>
    <dgm:cxn modelId="{D6F493F1-EB3E-456C-9F3D-78F90799CF11}" type="presOf" srcId="{DD4C297C-2BFC-4924-B1B8-B90C84BD2D9E}" destId="{ECD7B1A3-4773-4786-9476-0DB6284D8DD1}" srcOrd="0" destOrd="0" presId="urn:microsoft.com/office/officeart/2008/layout/LinedList"/>
    <dgm:cxn modelId="{0FF5E6BD-CE2B-48E6-B174-489ADEB705D2}" type="presParOf" srcId="{A7F57FD2-FD55-46A9-A2BD-552BF171BB5F}" destId="{75EAB895-38AF-4B06-821E-07C3234984F3}" srcOrd="0" destOrd="0" presId="urn:microsoft.com/office/officeart/2008/layout/LinedList"/>
    <dgm:cxn modelId="{C503687D-AF0C-49DB-B3F7-2AC3AED63314}" type="presParOf" srcId="{A7F57FD2-FD55-46A9-A2BD-552BF171BB5F}" destId="{CA1712E5-40B0-45BD-AAB5-F8C01B0A854C}" srcOrd="1" destOrd="0" presId="urn:microsoft.com/office/officeart/2008/layout/LinedList"/>
    <dgm:cxn modelId="{0C81EC0B-C4C2-4C8D-B5E2-EBA0E2766B43}" type="presParOf" srcId="{CA1712E5-40B0-45BD-AAB5-F8C01B0A854C}" destId="{5C0D8B86-2323-4B81-B807-C551498AA0BE}" srcOrd="0" destOrd="0" presId="urn:microsoft.com/office/officeart/2008/layout/LinedList"/>
    <dgm:cxn modelId="{B08D7E94-EF88-432C-B810-2AA853C0AD1E}" type="presParOf" srcId="{CA1712E5-40B0-45BD-AAB5-F8C01B0A854C}" destId="{EAF33E61-918B-4BEF-924C-3E57E368008A}" srcOrd="1" destOrd="0" presId="urn:microsoft.com/office/officeart/2008/layout/LinedList"/>
    <dgm:cxn modelId="{FF9D372D-ECF4-4034-AEB4-22BAE307CF80}" type="presParOf" srcId="{A7F57FD2-FD55-46A9-A2BD-552BF171BB5F}" destId="{78D63585-6D68-4705-A0F6-AC27E49CB4F6}" srcOrd="2" destOrd="0" presId="urn:microsoft.com/office/officeart/2008/layout/LinedList"/>
    <dgm:cxn modelId="{61D5137C-15A4-4FEE-AD93-F6875C0D279F}" type="presParOf" srcId="{A7F57FD2-FD55-46A9-A2BD-552BF171BB5F}" destId="{155191CB-431C-4D44-B3EE-A92576410B9F}" srcOrd="3" destOrd="0" presId="urn:microsoft.com/office/officeart/2008/layout/LinedList"/>
    <dgm:cxn modelId="{68AC59CF-BB70-4CDD-9E0E-9BACAC1AA2A6}" type="presParOf" srcId="{155191CB-431C-4D44-B3EE-A92576410B9F}" destId="{E7A5C59A-28BC-47F8-B120-29ADE401E560}" srcOrd="0" destOrd="0" presId="urn:microsoft.com/office/officeart/2008/layout/LinedList"/>
    <dgm:cxn modelId="{FC9E1A7A-2EDB-4DBA-A9A9-02C3917FF9AC}" type="presParOf" srcId="{155191CB-431C-4D44-B3EE-A92576410B9F}" destId="{F72B7054-6D85-49A6-9303-DB1FE5CEAC9D}" srcOrd="1" destOrd="0" presId="urn:microsoft.com/office/officeart/2008/layout/LinedList"/>
    <dgm:cxn modelId="{211ED2BA-5895-4E04-969B-DAFC58B42D48}" type="presParOf" srcId="{A7F57FD2-FD55-46A9-A2BD-552BF171BB5F}" destId="{8AE5C0D6-D0B3-432E-8B20-3B5DBAADD7EE}" srcOrd="4" destOrd="0" presId="urn:microsoft.com/office/officeart/2008/layout/LinedList"/>
    <dgm:cxn modelId="{FF680647-9A66-4634-B409-FA43D2AF3CB5}" type="presParOf" srcId="{A7F57FD2-FD55-46A9-A2BD-552BF171BB5F}" destId="{2595CBC0-1CDF-44FB-960B-94DB4ED98266}" srcOrd="5" destOrd="0" presId="urn:microsoft.com/office/officeart/2008/layout/LinedList"/>
    <dgm:cxn modelId="{5595577A-3C5A-43F8-8EC6-D353A172ADDF}" type="presParOf" srcId="{2595CBC0-1CDF-44FB-960B-94DB4ED98266}" destId="{ECD7B1A3-4773-4786-9476-0DB6284D8DD1}" srcOrd="0" destOrd="0" presId="urn:microsoft.com/office/officeart/2008/layout/LinedList"/>
    <dgm:cxn modelId="{B70A9645-02EB-4250-B122-E0A749849828}" type="presParOf" srcId="{2595CBC0-1CDF-44FB-960B-94DB4ED98266}" destId="{8E28971F-3805-4F83-B84E-6999A3720941}" srcOrd="1" destOrd="0" presId="urn:microsoft.com/office/officeart/2008/layout/LinedList"/>
    <dgm:cxn modelId="{71FF0CA3-5CA0-496F-AE8A-FF657B67E35D}" type="presParOf" srcId="{A7F57FD2-FD55-46A9-A2BD-552BF171BB5F}" destId="{3E4B775B-BA09-438B-B8AD-C450EE6C0624}" srcOrd="6" destOrd="0" presId="urn:microsoft.com/office/officeart/2008/layout/LinedList"/>
    <dgm:cxn modelId="{F760C41D-899D-4153-89D3-1EC85FFD2CAE}" type="presParOf" srcId="{A7F57FD2-FD55-46A9-A2BD-552BF171BB5F}" destId="{D03ABB3D-3E3C-410D-A81A-90987E2D55F8}" srcOrd="7" destOrd="0" presId="urn:microsoft.com/office/officeart/2008/layout/LinedList"/>
    <dgm:cxn modelId="{9D60457F-3E77-4C51-AE63-6D3A2A203494}" type="presParOf" srcId="{D03ABB3D-3E3C-410D-A81A-90987E2D55F8}" destId="{CABB782F-C10A-49BB-B60E-704C106769FE}" srcOrd="0" destOrd="0" presId="urn:microsoft.com/office/officeart/2008/layout/LinedList"/>
    <dgm:cxn modelId="{C1CF2293-B794-47C8-A490-DF1CCED90E69}" type="presParOf" srcId="{D03ABB3D-3E3C-410D-A81A-90987E2D55F8}" destId="{80974DC8-A2FD-451D-A51C-5854E76B1E2B}" srcOrd="1" destOrd="0" presId="urn:microsoft.com/office/officeart/2008/layout/LinedList"/>
    <dgm:cxn modelId="{AC58881A-788E-4C21-9819-86C14C2251F3}" type="presParOf" srcId="{A7F57FD2-FD55-46A9-A2BD-552BF171BB5F}" destId="{D042B10D-2791-4F94-85C1-B78282CBA63F}" srcOrd="8" destOrd="0" presId="urn:microsoft.com/office/officeart/2008/layout/LinedList"/>
    <dgm:cxn modelId="{A9E09E57-A92A-455D-802A-5AD37A8AC7A1}" type="presParOf" srcId="{A7F57FD2-FD55-46A9-A2BD-552BF171BB5F}" destId="{31901BA8-7F6E-4078-9DEA-E32B2192680C}" srcOrd="9" destOrd="0" presId="urn:microsoft.com/office/officeart/2008/layout/LinedList"/>
    <dgm:cxn modelId="{2572B86C-9BDC-41DD-8B3F-4F03A06AFC47}" type="presParOf" srcId="{31901BA8-7F6E-4078-9DEA-E32B2192680C}" destId="{B6EB9A00-7E29-47D5-951A-F8376EA53281}" srcOrd="0" destOrd="0" presId="urn:microsoft.com/office/officeart/2008/layout/LinedList"/>
    <dgm:cxn modelId="{A6F43E07-6999-4F1D-AA75-8AF7E51A235A}" type="presParOf" srcId="{31901BA8-7F6E-4078-9DEA-E32B2192680C}" destId="{12E47E0A-5C9D-4C0B-B471-B1319C772B15}" srcOrd="1" destOrd="0" presId="urn:microsoft.com/office/officeart/2008/layout/LinedList"/>
    <dgm:cxn modelId="{39C6B87A-2A63-47C2-8C8D-1F765CC3FF9B}" type="presParOf" srcId="{A7F57FD2-FD55-46A9-A2BD-552BF171BB5F}" destId="{483919CC-5269-4386-9557-6132254E2D5F}" srcOrd="10" destOrd="0" presId="urn:microsoft.com/office/officeart/2008/layout/LinedList"/>
    <dgm:cxn modelId="{7069E27A-64FE-49FE-9582-634FD84BE154}" type="presParOf" srcId="{A7F57FD2-FD55-46A9-A2BD-552BF171BB5F}" destId="{03AA1E31-BEBD-48FB-AF0C-8233B576C04A}" srcOrd="11" destOrd="0" presId="urn:microsoft.com/office/officeart/2008/layout/LinedList"/>
    <dgm:cxn modelId="{E7E0FD22-48E5-4B2C-BFE8-30B0866302D4}" type="presParOf" srcId="{03AA1E31-BEBD-48FB-AF0C-8233B576C04A}" destId="{84F283FC-4400-412C-BF5D-76E15BD2E4D7}" srcOrd="0" destOrd="0" presId="urn:microsoft.com/office/officeart/2008/layout/LinedList"/>
    <dgm:cxn modelId="{619F4737-F180-483B-B21B-ACB466D8757A}" type="presParOf" srcId="{03AA1E31-BEBD-48FB-AF0C-8233B576C04A}" destId="{0F6FA7FA-CC07-49EF-8B4F-96591EC1B408}" srcOrd="1" destOrd="0" presId="urn:microsoft.com/office/officeart/2008/layout/LinedList"/>
    <dgm:cxn modelId="{3898F8E7-0251-4AED-B420-0C91E33EEB5D}" type="presParOf" srcId="{A7F57FD2-FD55-46A9-A2BD-552BF171BB5F}" destId="{7D1F0902-18C9-4065-AC47-6C0706C9AD7F}" srcOrd="12" destOrd="0" presId="urn:microsoft.com/office/officeart/2008/layout/LinedList"/>
    <dgm:cxn modelId="{CB9D9B14-182B-4A8F-A2A7-BFE1B0818831}" type="presParOf" srcId="{A7F57FD2-FD55-46A9-A2BD-552BF171BB5F}" destId="{86EDAAE2-139E-4785-A811-212D173FBC51}" srcOrd="13" destOrd="0" presId="urn:microsoft.com/office/officeart/2008/layout/LinedList"/>
    <dgm:cxn modelId="{181AE9C1-337C-4E01-8736-B865F109E4D4}" type="presParOf" srcId="{86EDAAE2-139E-4785-A811-212D173FBC51}" destId="{6C48DD15-4DAD-4CBD-BEAE-4D15F9D9CCEB}" srcOrd="0" destOrd="0" presId="urn:microsoft.com/office/officeart/2008/layout/LinedList"/>
    <dgm:cxn modelId="{7A9E3713-6A8E-45E8-A44A-D4DCA748EECF}" type="presParOf" srcId="{86EDAAE2-139E-4785-A811-212D173FBC51}" destId="{ACDEC29F-BD59-49F7-B90A-07DE40BE57A8}" srcOrd="1" destOrd="0" presId="urn:microsoft.com/office/officeart/2008/layout/LinedList"/>
    <dgm:cxn modelId="{D710FFE0-0F32-4FA7-9F81-90D3F4C3E6F7}" type="presParOf" srcId="{A7F57FD2-FD55-46A9-A2BD-552BF171BB5F}" destId="{8916FD8B-185A-4FF4-B21B-B8FD7B628AF2}" srcOrd="14" destOrd="0" presId="urn:microsoft.com/office/officeart/2008/layout/LinedList"/>
    <dgm:cxn modelId="{6AC03F48-6594-451D-AC5B-DE78B7BA3BB0}" type="presParOf" srcId="{A7F57FD2-FD55-46A9-A2BD-552BF171BB5F}" destId="{66254D0A-2C89-4149-B025-DE8993238497}" srcOrd="15" destOrd="0" presId="urn:microsoft.com/office/officeart/2008/layout/LinedList"/>
    <dgm:cxn modelId="{1E3CCCBF-983A-42FE-AEFB-B87F65D8F4D4}" type="presParOf" srcId="{66254D0A-2C89-4149-B025-DE8993238497}" destId="{051CF803-DEB4-4E12-B921-279A63A1CF1C}" srcOrd="0" destOrd="0" presId="urn:microsoft.com/office/officeart/2008/layout/LinedList"/>
    <dgm:cxn modelId="{8B5264F5-14C0-4D7A-9DBE-52C4171C6606}" type="presParOf" srcId="{66254D0A-2C89-4149-B025-DE8993238497}" destId="{2CCD772F-C7FB-46DB-AAFF-C551DB79A7D2}" srcOrd="1" destOrd="0" presId="urn:microsoft.com/office/officeart/2008/layout/LinedList"/>
    <dgm:cxn modelId="{E661598A-1AC0-47BF-85C0-B6E05F60CD62}" type="presParOf" srcId="{A7F57FD2-FD55-46A9-A2BD-552BF171BB5F}" destId="{8A69CBE2-93B8-466F-899D-29B380A0899D}" srcOrd="16" destOrd="0" presId="urn:microsoft.com/office/officeart/2008/layout/LinedList"/>
    <dgm:cxn modelId="{C45DC2EE-F970-4F18-85C6-8BD9DF331AF0}" type="presParOf" srcId="{A7F57FD2-FD55-46A9-A2BD-552BF171BB5F}" destId="{0E015863-ED42-4568-B32A-A1F06DD0FBDE}" srcOrd="17" destOrd="0" presId="urn:microsoft.com/office/officeart/2008/layout/LinedList"/>
    <dgm:cxn modelId="{F33A590B-E9C3-42E3-A24B-349AF92A5E6F}" type="presParOf" srcId="{0E015863-ED42-4568-B32A-A1F06DD0FBDE}" destId="{6C1253A1-2E89-4B50-9511-0048BD18CF79}" srcOrd="0" destOrd="0" presId="urn:microsoft.com/office/officeart/2008/layout/LinedList"/>
    <dgm:cxn modelId="{723753F0-91A5-4E9D-8DD9-295683B5F653}" type="presParOf" srcId="{0E015863-ED42-4568-B32A-A1F06DD0FBDE}" destId="{ABE6C258-EC8E-4C2C-BB0A-C89D3AEBD06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8CE2E0-CB0C-472F-986C-2C13071559C0}" type="doc">
      <dgm:prSet loTypeId="urn:microsoft.com/office/officeart/2018/5/layout/IconCircleLabel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fi-FI"/>
        </a:p>
      </dgm:t>
    </dgm:pt>
    <dgm:pt modelId="{778108FE-294F-4447-9B91-7B5796F6A06C}">
      <dgm:prSet phldrT="[Text]" custT="1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GB" sz="1600" dirty="0">
              <a:latin typeface="Arial Nova Cond" panose="020B0506020202020204" pitchFamily="34" charset="0"/>
            </a:rPr>
            <a:t>Building the team: key capabilities and management system </a:t>
          </a:r>
          <a:endParaRPr lang="fi-FI" sz="1600" dirty="0">
            <a:latin typeface="Arial Nova Cond" panose="020B0506020202020204" pitchFamily="34" charset="0"/>
          </a:endParaRPr>
        </a:p>
      </dgm:t>
    </dgm:pt>
    <dgm:pt modelId="{EDBDB591-C24C-4121-BD68-28856D5C1CE8}" type="parTrans" cxnId="{B96EA6D3-E43C-4985-8697-6B9B05760B66}">
      <dgm:prSet/>
      <dgm:spPr/>
      <dgm:t>
        <a:bodyPr/>
        <a:lstStyle/>
        <a:p>
          <a:endParaRPr lang="fi-FI" sz="2000">
            <a:latin typeface="Arial Nova Cond" panose="020B0506020202020204" pitchFamily="34" charset="0"/>
          </a:endParaRPr>
        </a:p>
      </dgm:t>
    </dgm:pt>
    <dgm:pt modelId="{F267B96B-C780-4F07-BEAE-B9737943FCDE}" type="sibTrans" cxnId="{B96EA6D3-E43C-4985-8697-6B9B05760B66}">
      <dgm:prSet/>
      <dgm:spPr/>
      <dgm:t>
        <a:bodyPr/>
        <a:lstStyle/>
        <a:p>
          <a:endParaRPr lang="fi-FI" sz="2400">
            <a:latin typeface="Arial Nova Cond" panose="020B0506020202020204" pitchFamily="34" charset="0"/>
          </a:endParaRPr>
        </a:p>
      </dgm:t>
    </dgm:pt>
    <dgm:pt modelId="{2DB1A028-F502-4E34-BDDD-C23C3164E926}">
      <dgm:prSet phldrT="[Text]" custT="1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GB" sz="1600">
              <a:latin typeface="Arial Nova Cond" panose="020B0506020202020204" pitchFamily="34" charset="0"/>
            </a:rPr>
            <a:t>Business models: services, case modelling &amp; budgeting</a:t>
          </a:r>
        </a:p>
      </dgm:t>
    </dgm:pt>
    <dgm:pt modelId="{823D41F7-7DD8-41FD-9175-B3FC4F243EE1}" type="parTrans" cxnId="{C580C2C5-A0DD-4838-9BA1-04515802AB0F}">
      <dgm:prSet/>
      <dgm:spPr/>
      <dgm:t>
        <a:bodyPr/>
        <a:lstStyle/>
        <a:p>
          <a:endParaRPr lang="fi-FI" sz="2000">
            <a:latin typeface="Arial Nova Cond" panose="020B0506020202020204" pitchFamily="34" charset="0"/>
          </a:endParaRPr>
        </a:p>
      </dgm:t>
    </dgm:pt>
    <dgm:pt modelId="{9FD4C76D-6D46-47E6-B666-0A7B2599B146}" type="sibTrans" cxnId="{C580C2C5-A0DD-4838-9BA1-04515802AB0F}">
      <dgm:prSet/>
      <dgm:spPr/>
      <dgm:t>
        <a:bodyPr/>
        <a:lstStyle/>
        <a:p>
          <a:endParaRPr lang="fi-FI" sz="2400">
            <a:latin typeface="Arial Nova Cond" panose="020B0506020202020204" pitchFamily="34" charset="0"/>
          </a:endParaRPr>
        </a:p>
      </dgm:t>
    </dgm:pt>
    <dgm:pt modelId="{BA3864D8-205A-4917-9079-E32001C94A3B}">
      <dgm:prSet phldrT="[Text]" custT="1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GB" sz="1600">
              <a:latin typeface="Arial Nova Cond" panose="020B0506020202020204" pitchFamily="34" charset="0"/>
            </a:rPr>
            <a:t>Networking and negotiations with key stakeholders </a:t>
          </a:r>
          <a:endParaRPr lang="fi-FI" sz="1600">
            <a:latin typeface="Arial Nova Cond" panose="020B0506020202020204" pitchFamily="34" charset="0"/>
          </a:endParaRPr>
        </a:p>
      </dgm:t>
    </dgm:pt>
    <dgm:pt modelId="{3D7D88A2-2C3E-4C65-9ABB-0342689FDE6D}" type="parTrans" cxnId="{F33B52AD-F489-4EC9-9E43-D56914D68085}">
      <dgm:prSet/>
      <dgm:spPr/>
      <dgm:t>
        <a:bodyPr/>
        <a:lstStyle/>
        <a:p>
          <a:endParaRPr lang="fi-FI" sz="2000">
            <a:latin typeface="Arial Nova Cond" panose="020B0506020202020204" pitchFamily="34" charset="0"/>
          </a:endParaRPr>
        </a:p>
      </dgm:t>
    </dgm:pt>
    <dgm:pt modelId="{78668882-B3D3-4588-9070-396E3A6053F2}" type="sibTrans" cxnId="{F33B52AD-F489-4EC9-9E43-D56914D68085}">
      <dgm:prSet/>
      <dgm:spPr/>
      <dgm:t>
        <a:bodyPr/>
        <a:lstStyle/>
        <a:p>
          <a:endParaRPr lang="fi-FI" sz="2400">
            <a:latin typeface="Arial Nova Cond" panose="020B0506020202020204" pitchFamily="34" charset="0"/>
          </a:endParaRPr>
        </a:p>
      </dgm:t>
    </dgm:pt>
    <dgm:pt modelId="{B10B9317-4691-4BAE-A146-2979CC1AE0D4}">
      <dgm:prSet phldrT="[Text]" custT="1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GB" sz="1600" dirty="0">
              <a:latin typeface="Arial Nova Cond" panose="020B0506020202020204" pitchFamily="34" charset="0"/>
            </a:rPr>
            <a:t>First program into development portfolio</a:t>
          </a:r>
          <a:endParaRPr lang="fi-FI" sz="1600" dirty="0">
            <a:latin typeface="Arial Nova Cond" panose="020B0506020202020204" pitchFamily="34" charset="0"/>
          </a:endParaRPr>
        </a:p>
      </dgm:t>
    </dgm:pt>
    <dgm:pt modelId="{8F2B992B-6D46-4E64-B491-63C6FA09D15C}" type="parTrans" cxnId="{799876E7-03A7-4785-B0DA-51433095BD29}">
      <dgm:prSet/>
      <dgm:spPr/>
      <dgm:t>
        <a:bodyPr/>
        <a:lstStyle/>
        <a:p>
          <a:endParaRPr lang="fi-FI" sz="2000">
            <a:latin typeface="Arial Nova Cond" panose="020B0506020202020204" pitchFamily="34" charset="0"/>
          </a:endParaRPr>
        </a:p>
      </dgm:t>
    </dgm:pt>
    <dgm:pt modelId="{7F1DCCFA-DDAA-48EE-A5CF-B70F865D5CFD}" type="sibTrans" cxnId="{799876E7-03A7-4785-B0DA-51433095BD29}">
      <dgm:prSet/>
      <dgm:spPr/>
      <dgm:t>
        <a:bodyPr/>
        <a:lstStyle/>
        <a:p>
          <a:endParaRPr lang="fi-FI" sz="2400">
            <a:latin typeface="Arial Nova Cond" panose="020B0506020202020204" pitchFamily="34" charset="0"/>
          </a:endParaRPr>
        </a:p>
      </dgm:t>
    </dgm:pt>
    <dgm:pt modelId="{0940BD3F-EA61-4531-A4BF-FB2EC5F645B8}">
      <dgm:prSet phldrT="[Text]" custT="1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GB" sz="1600">
              <a:latin typeface="Arial Nova Cond" panose="020B0506020202020204" pitchFamily="34" charset="0"/>
            </a:rPr>
            <a:t>Communication strategy and action plan</a:t>
          </a:r>
        </a:p>
      </dgm:t>
    </dgm:pt>
    <dgm:pt modelId="{9C8B4B85-BB28-48A2-8271-4C47DB2985B8}" type="parTrans" cxnId="{69152C41-7304-4BDB-80C0-E198D4FF141C}">
      <dgm:prSet/>
      <dgm:spPr/>
      <dgm:t>
        <a:bodyPr/>
        <a:lstStyle/>
        <a:p>
          <a:endParaRPr lang="fi-FI" sz="2000">
            <a:latin typeface="Arial Nova Cond" panose="020B0506020202020204" pitchFamily="34" charset="0"/>
          </a:endParaRPr>
        </a:p>
      </dgm:t>
    </dgm:pt>
    <dgm:pt modelId="{C6957F67-D396-47B3-8E32-B079BBE27D88}" type="sibTrans" cxnId="{69152C41-7304-4BDB-80C0-E198D4FF141C}">
      <dgm:prSet/>
      <dgm:spPr/>
      <dgm:t>
        <a:bodyPr/>
        <a:lstStyle/>
        <a:p>
          <a:endParaRPr lang="fi-FI" sz="2400">
            <a:latin typeface="Arial Nova Cond" panose="020B0506020202020204" pitchFamily="34" charset="0"/>
          </a:endParaRPr>
        </a:p>
      </dgm:t>
    </dgm:pt>
    <dgm:pt modelId="{F51B5FB9-1985-4B88-8CFD-907A50D8E459}" type="pres">
      <dgm:prSet presAssocID="{998CE2E0-CB0C-472F-986C-2C13071559C0}" presName="root" presStyleCnt="0">
        <dgm:presLayoutVars>
          <dgm:dir/>
          <dgm:resizeHandles val="exact"/>
        </dgm:presLayoutVars>
      </dgm:prSet>
      <dgm:spPr/>
    </dgm:pt>
    <dgm:pt modelId="{01D0EB28-EC24-4956-A7AD-B8D9B74BABBD}" type="pres">
      <dgm:prSet presAssocID="{778108FE-294F-4447-9B91-7B5796F6A06C}" presName="compNode" presStyleCnt="0"/>
      <dgm:spPr/>
    </dgm:pt>
    <dgm:pt modelId="{3DF4204A-6305-4288-AB73-C2853EAA6DFF}" type="pres">
      <dgm:prSet presAssocID="{778108FE-294F-4447-9B91-7B5796F6A06C}" presName="iconBgRect" presStyleLbl="bgShp" presStyleIdx="0" presStyleCnt="5"/>
      <dgm:spPr/>
    </dgm:pt>
    <dgm:pt modelId="{3E1A6711-9255-46D6-84D0-EF892A88178F}" type="pres">
      <dgm:prSet presAssocID="{778108FE-294F-4447-9B91-7B5796F6A06C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9C293C59-9B4A-482D-BFDB-E2D222C9C52D}" type="pres">
      <dgm:prSet presAssocID="{778108FE-294F-4447-9B91-7B5796F6A06C}" presName="spaceRect" presStyleCnt="0"/>
      <dgm:spPr/>
    </dgm:pt>
    <dgm:pt modelId="{C42C557D-FCEB-4BAD-8CBF-ADDA438A275E}" type="pres">
      <dgm:prSet presAssocID="{778108FE-294F-4447-9B91-7B5796F6A06C}" presName="textRect" presStyleLbl="revTx" presStyleIdx="0" presStyleCnt="5">
        <dgm:presLayoutVars>
          <dgm:chMax val="1"/>
          <dgm:chPref val="1"/>
        </dgm:presLayoutVars>
      </dgm:prSet>
      <dgm:spPr/>
    </dgm:pt>
    <dgm:pt modelId="{2C83E7A4-578F-45A8-85E4-F18482D27B03}" type="pres">
      <dgm:prSet presAssocID="{F267B96B-C780-4F07-BEAE-B9737943FCDE}" presName="sibTrans" presStyleCnt="0"/>
      <dgm:spPr/>
    </dgm:pt>
    <dgm:pt modelId="{FFD8D660-AA55-44C8-808D-AC04E08CEEF4}" type="pres">
      <dgm:prSet presAssocID="{2DB1A028-F502-4E34-BDDD-C23C3164E926}" presName="compNode" presStyleCnt="0"/>
      <dgm:spPr/>
    </dgm:pt>
    <dgm:pt modelId="{FFAA8A0D-916A-4EF8-844F-C3AEB71EB346}" type="pres">
      <dgm:prSet presAssocID="{2DB1A028-F502-4E34-BDDD-C23C3164E926}" presName="iconBgRect" presStyleLbl="bgShp" presStyleIdx="1" presStyleCnt="5"/>
      <dgm:spPr/>
    </dgm:pt>
    <dgm:pt modelId="{2E9F82DC-441E-4BE9-A8D4-4CA0FAAC3191}" type="pres">
      <dgm:prSet presAssocID="{2DB1A028-F502-4E34-BDDD-C23C3164E926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lculator"/>
        </a:ext>
      </dgm:extLst>
    </dgm:pt>
    <dgm:pt modelId="{61159DA2-FF69-4E1E-B071-E8A55F1DE30B}" type="pres">
      <dgm:prSet presAssocID="{2DB1A028-F502-4E34-BDDD-C23C3164E926}" presName="spaceRect" presStyleCnt="0"/>
      <dgm:spPr/>
    </dgm:pt>
    <dgm:pt modelId="{9B6257D4-4CB1-4697-BEBA-E3D03AF3B438}" type="pres">
      <dgm:prSet presAssocID="{2DB1A028-F502-4E34-BDDD-C23C3164E926}" presName="textRect" presStyleLbl="revTx" presStyleIdx="1" presStyleCnt="5">
        <dgm:presLayoutVars>
          <dgm:chMax val="1"/>
          <dgm:chPref val="1"/>
        </dgm:presLayoutVars>
      </dgm:prSet>
      <dgm:spPr/>
    </dgm:pt>
    <dgm:pt modelId="{81389209-5AC9-421C-AFCB-1A1693B556A1}" type="pres">
      <dgm:prSet presAssocID="{9FD4C76D-6D46-47E6-B666-0A7B2599B146}" presName="sibTrans" presStyleCnt="0"/>
      <dgm:spPr/>
    </dgm:pt>
    <dgm:pt modelId="{0C8D8FB9-A749-4E34-A040-C17F43542CF2}" type="pres">
      <dgm:prSet presAssocID="{BA3864D8-205A-4917-9079-E32001C94A3B}" presName="compNode" presStyleCnt="0"/>
      <dgm:spPr/>
    </dgm:pt>
    <dgm:pt modelId="{81830755-AE3D-4795-BD47-6C680AE50F20}" type="pres">
      <dgm:prSet presAssocID="{BA3864D8-205A-4917-9079-E32001C94A3B}" presName="iconBgRect" presStyleLbl="bgShp" presStyleIdx="2" presStyleCnt="5"/>
      <dgm:spPr/>
    </dgm:pt>
    <dgm:pt modelId="{84933702-FB76-4C7B-8160-75E8B198A0D3}" type="pres">
      <dgm:prSet presAssocID="{BA3864D8-205A-4917-9079-E32001C94A3B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0CAC0307-BAA9-491D-91AE-D046E0031761}" type="pres">
      <dgm:prSet presAssocID="{BA3864D8-205A-4917-9079-E32001C94A3B}" presName="spaceRect" presStyleCnt="0"/>
      <dgm:spPr/>
    </dgm:pt>
    <dgm:pt modelId="{443BBB73-26C0-4778-89A6-4783C774921F}" type="pres">
      <dgm:prSet presAssocID="{BA3864D8-205A-4917-9079-E32001C94A3B}" presName="textRect" presStyleLbl="revTx" presStyleIdx="2" presStyleCnt="5">
        <dgm:presLayoutVars>
          <dgm:chMax val="1"/>
          <dgm:chPref val="1"/>
        </dgm:presLayoutVars>
      </dgm:prSet>
      <dgm:spPr/>
    </dgm:pt>
    <dgm:pt modelId="{83FD355F-FE9B-4F86-832C-F884EC222612}" type="pres">
      <dgm:prSet presAssocID="{78668882-B3D3-4588-9070-396E3A6053F2}" presName="sibTrans" presStyleCnt="0"/>
      <dgm:spPr/>
    </dgm:pt>
    <dgm:pt modelId="{AB489AF4-F5DD-4BB0-B6E1-C3ECA3FEEC5C}" type="pres">
      <dgm:prSet presAssocID="{B10B9317-4691-4BAE-A146-2979CC1AE0D4}" presName="compNode" presStyleCnt="0"/>
      <dgm:spPr/>
    </dgm:pt>
    <dgm:pt modelId="{65E5C0A7-2497-4FA8-A4A2-CB23B2BC4FA3}" type="pres">
      <dgm:prSet presAssocID="{B10B9317-4691-4BAE-A146-2979CC1AE0D4}" presName="iconBgRect" presStyleLbl="bgShp" presStyleIdx="3" presStyleCnt="5"/>
      <dgm:spPr/>
    </dgm:pt>
    <dgm:pt modelId="{301AE5D2-1E40-4863-AA42-03E41EC517CD}" type="pres">
      <dgm:prSet presAssocID="{B10B9317-4691-4BAE-A146-2979CC1AE0D4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pward trend"/>
        </a:ext>
      </dgm:extLst>
    </dgm:pt>
    <dgm:pt modelId="{16AE0129-2FBA-4B0C-A6EC-E5C75CFABA0E}" type="pres">
      <dgm:prSet presAssocID="{B10B9317-4691-4BAE-A146-2979CC1AE0D4}" presName="spaceRect" presStyleCnt="0"/>
      <dgm:spPr/>
    </dgm:pt>
    <dgm:pt modelId="{C5C80D45-3F53-4A18-8121-03D3B92259FF}" type="pres">
      <dgm:prSet presAssocID="{B10B9317-4691-4BAE-A146-2979CC1AE0D4}" presName="textRect" presStyleLbl="revTx" presStyleIdx="3" presStyleCnt="5">
        <dgm:presLayoutVars>
          <dgm:chMax val="1"/>
          <dgm:chPref val="1"/>
        </dgm:presLayoutVars>
      </dgm:prSet>
      <dgm:spPr/>
    </dgm:pt>
    <dgm:pt modelId="{D70F6AE8-F10E-44A5-A7C7-03EBE7060A54}" type="pres">
      <dgm:prSet presAssocID="{7F1DCCFA-DDAA-48EE-A5CF-B70F865D5CFD}" presName="sibTrans" presStyleCnt="0"/>
      <dgm:spPr/>
    </dgm:pt>
    <dgm:pt modelId="{5FED5DFB-628B-4876-9E95-29A2E997165B}" type="pres">
      <dgm:prSet presAssocID="{0940BD3F-EA61-4531-A4BF-FB2EC5F645B8}" presName="compNode" presStyleCnt="0"/>
      <dgm:spPr/>
    </dgm:pt>
    <dgm:pt modelId="{4A785B0C-CE38-4E80-9C37-106C7752AF64}" type="pres">
      <dgm:prSet presAssocID="{0940BD3F-EA61-4531-A4BF-FB2EC5F645B8}" presName="iconBgRect" presStyleLbl="bgShp" presStyleIdx="4" presStyleCnt="5"/>
      <dgm:spPr/>
    </dgm:pt>
    <dgm:pt modelId="{344FF632-9F72-4A57-AE80-A7ED2900AF0A}" type="pres">
      <dgm:prSet presAssocID="{0940BD3F-EA61-4531-A4BF-FB2EC5F645B8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at"/>
        </a:ext>
      </dgm:extLst>
    </dgm:pt>
    <dgm:pt modelId="{6AD48404-8217-4861-97A8-C1FAAFD3BDEE}" type="pres">
      <dgm:prSet presAssocID="{0940BD3F-EA61-4531-A4BF-FB2EC5F645B8}" presName="spaceRect" presStyleCnt="0"/>
      <dgm:spPr/>
    </dgm:pt>
    <dgm:pt modelId="{329D0434-B03C-4125-B896-80BF34D7F866}" type="pres">
      <dgm:prSet presAssocID="{0940BD3F-EA61-4531-A4BF-FB2EC5F645B8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1F0B6414-82A6-44B6-8FBF-5DF819187193}" type="presOf" srcId="{BA3864D8-205A-4917-9079-E32001C94A3B}" destId="{443BBB73-26C0-4778-89A6-4783C774921F}" srcOrd="0" destOrd="0" presId="urn:microsoft.com/office/officeart/2018/5/layout/IconCircleLabelList"/>
    <dgm:cxn modelId="{B8AAFE2D-DC8B-493D-BF4D-A8AB67880539}" type="presOf" srcId="{2DB1A028-F502-4E34-BDDD-C23C3164E926}" destId="{9B6257D4-4CB1-4697-BEBA-E3D03AF3B438}" srcOrd="0" destOrd="0" presId="urn:microsoft.com/office/officeart/2018/5/layout/IconCircleLabelList"/>
    <dgm:cxn modelId="{69152C41-7304-4BDB-80C0-E198D4FF141C}" srcId="{998CE2E0-CB0C-472F-986C-2C13071559C0}" destId="{0940BD3F-EA61-4531-A4BF-FB2EC5F645B8}" srcOrd="4" destOrd="0" parTransId="{9C8B4B85-BB28-48A2-8271-4C47DB2985B8}" sibTransId="{C6957F67-D396-47B3-8E32-B079BBE27D88}"/>
    <dgm:cxn modelId="{D0FF4964-2EEF-4E95-9C15-1E1E8A726C88}" type="presOf" srcId="{998CE2E0-CB0C-472F-986C-2C13071559C0}" destId="{F51B5FB9-1985-4B88-8CFD-907A50D8E459}" srcOrd="0" destOrd="0" presId="urn:microsoft.com/office/officeart/2018/5/layout/IconCircleLabelList"/>
    <dgm:cxn modelId="{F5C7764D-4572-4A88-B655-60F8C6218FB6}" type="presOf" srcId="{B10B9317-4691-4BAE-A146-2979CC1AE0D4}" destId="{C5C80D45-3F53-4A18-8121-03D3B92259FF}" srcOrd="0" destOrd="0" presId="urn:microsoft.com/office/officeart/2018/5/layout/IconCircleLabelList"/>
    <dgm:cxn modelId="{F68FC0A7-6DF2-4D56-B278-8F0617E541CB}" type="presOf" srcId="{0940BD3F-EA61-4531-A4BF-FB2EC5F645B8}" destId="{329D0434-B03C-4125-B896-80BF34D7F866}" srcOrd="0" destOrd="0" presId="urn:microsoft.com/office/officeart/2018/5/layout/IconCircleLabelList"/>
    <dgm:cxn modelId="{F33B52AD-F489-4EC9-9E43-D56914D68085}" srcId="{998CE2E0-CB0C-472F-986C-2C13071559C0}" destId="{BA3864D8-205A-4917-9079-E32001C94A3B}" srcOrd="2" destOrd="0" parTransId="{3D7D88A2-2C3E-4C65-9ABB-0342689FDE6D}" sibTransId="{78668882-B3D3-4588-9070-396E3A6053F2}"/>
    <dgm:cxn modelId="{C580C2C5-A0DD-4838-9BA1-04515802AB0F}" srcId="{998CE2E0-CB0C-472F-986C-2C13071559C0}" destId="{2DB1A028-F502-4E34-BDDD-C23C3164E926}" srcOrd="1" destOrd="0" parTransId="{823D41F7-7DD8-41FD-9175-B3FC4F243EE1}" sibTransId="{9FD4C76D-6D46-47E6-B666-0A7B2599B146}"/>
    <dgm:cxn modelId="{B96EA6D3-E43C-4985-8697-6B9B05760B66}" srcId="{998CE2E0-CB0C-472F-986C-2C13071559C0}" destId="{778108FE-294F-4447-9B91-7B5796F6A06C}" srcOrd="0" destOrd="0" parTransId="{EDBDB591-C24C-4121-BD68-28856D5C1CE8}" sibTransId="{F267B96B-C780-4F07-BEAE-B9737943FCDE}"/>
    <dgm:cxn modelId="{799876E7-03A7-4785-B0DA-51433095BD29}" srcId="{998CE2E0-CB0C-472F-986C-2C13071559C0}" destId="{B10B9317-4691-4BAE-A146-2979CC1AE0D4}" srcOrd="3" destOrd="0" parTransId="{8F2B992B-6D46-4E64-B491-63C6FA09D15C}" sibTransId="{7F1DCCFA-DDAA-48EE-A5CF-B70F865D5CFD}"/>
    <dgm:cxn modelId="{9F7B39ED-9E03-4F17-8B29-3B3B882A061E}" type="presOf" srcId="{778108FE-294F-4447-9B91-7B5796F6A06C}" destId="{C42C557D-FCEB-4BAD-8CBF-ADDA438A275E}" srcOrd="0" destOrd="0" presId="urn:microsoft.com/office/officeart/2018/5/layout/IconCircleLabelList"/>
    <dgm:cxn modelId="{69FC765D-A13A-4377-B4D7-C376877C3924}" type="presParOf" srcId="{F51B5FB9-1985-4B88-8CFD-907A50D8E459}" destId="{01D0EB28-EC24-4956-A7AD-B8D9B74BABBD}" srcOrd="0" destOrd="0" presId="urn:microsoft.com/office/officeart/2018/5/layout/IconCircleLabelList"/>
    <dgm:cxn modelId="{E2792F9A-27F7-43D5-91E1-A603D427D1AA}" type="presParOf" srcId="{01D0EB28-EC24-4956-A7AD-B8D9B74BABBD}" destId="{3DF4204A-6305-4288-AB73-C2853EAA6DFF}" srcOrd="0" destOrd="0" presId="urn:microsoft.com/office/officeart/2018/5/layout/IconCircleLabelList"/>
    <dgm:cxn modelId="{06587E47-14A2-4BE0-A663-4CC37E515901}" type="presParOf" srcId="{01D0EB28-EC24-4956-A7AD-B8D9B74BABBD}" destId="{3E1A6711-9255-46D6-84D0-EF892A88178F}" srcOrd="1" destOrd="0" presId="urn:microsoft.com/office/officeart/2018/5/layout/IconCircleLabelList"/>
    <dgm:cxn modelId="{C7E06D67-513A-4401-A2AA-52C2A7C57427}" type="presParOf" srcId="{01D0EB28-EC24-4956-A7AD-B8D9B74BABBD}" destId="{9C293C59-9B4A-482D-BFDB-E2D222C9C52D}" srcOrd="2" destOrd="0" presId="urn:microsoft.com/office/officeart/2018/5/layout/IconCircleLabelList"/>
    <dgm:cxn modelId="{92A79ED1-0794-4B77-B165-C2871DD59043}" type="presParOf" srcId="{01D0EB28-EC24-4956-A7AD-B8D9B74BABBD}" destId="{C42C557D-FCEB-4BAD-8CBF-ADDA438A275E}" srcOrd="3" destOrd="0" presId="urn:microsoft.com/office/officeart/2018/5/layout/IconCircleLabelList"/>
    <dgm:cxn modelId="{8952BF54-4C36-4C7A-B48B-92842937B402}" type="presParOf" srcId="{F51B5FB9-1985-4B88-8CFD-907A50D8E459}" destId="{2C83E7A4-578F-45A8-85E4-F18482D27B03}" srcOrd="1" destOrd="0" presId="urn:microsoft.com/office/officeart/2018/5/layout/IconCircleLabelList"/>
    <dgm:cxn modelId="{643F90E8-3780-4512-B52A-D89CA07D8478}" type="presParOf" srcId="{F51B5FB9-1985-4B88-8CFD-907A50D8E459}" destId="{FFD8D660-AA55-44C8-808D-AC04E08CEEF4}" srcOrd="2" destOrd="0" presId="urn:microsoft.com/office/officeart/2018/5/layout/IconCircleLabelList"/>
    <dgm:cxn modelId="{6C24FD1C-BFD6-4619-A365-1298619B7B5B}" type="presParOf" srcId="{FFD8D660-AA55-44C8-808D-AC04E08CEEF4}" destId="{FFAA8A0D-916A-4EF8-844F-C3AEB71EB346}" srcOrd="0" destOrd="0" presId="urn:microsoft.com/office/officeart/2018/5/layout/IconCircleLabelList"/>
    <dgm:cxn modelId="{5EBCCC54-F4C5-4D2F-B76F-E9BC332E11D5}" type="presParOf" srcId="{FFD8D660-AA55-44C8-808D-AC04E08CEEF4}" destId="{2E9F82DC-441E-4BE9-A8D4-4CA0FAAC3191}" srcOrd="1" destOrd="0" presId="urn:microsoft.com/office/officeart/2018/5/layout/IconCircleLabelList"/>
    <dgm:cxn modelId="{FB0E321B-2737-4871-9506-F4B826DF1F1E}" type="presParOf" srcId="{FFD8D660-AA55-44C8-808D-AC04E08CEEF4}" destId="{61159DA2-FF69-4E1E-B071-E8A55F1DE30B}" srcOrd="2" destOrd="0" presId="urn:microsoft.com/office/officeart/2018/5/layout/IconCircleLabelList"/>
    <dgm:cxn modelId="{80C7CA7F-6279-4277-BBDA-97D82AA30782}" type="presParOf" srcId="{FFD8D660-AA55-44C8-808D-AC04E08CEEF4}" destId="{9B6257D4-4CB1-4697-BEBA-E3D03AF3B438}" srcOrd="3" destOrd="0" presId="urn:microsoft.com/office/officeart/2018/5/layout/IconCircleLabelList"/>
    <dgm:cxn modelId="{D3FB92A9-613F-4169-9DA2-A90EE1EF43D3}" type="presParOf" srcId="{F51B5FB9-1985-4B88-8CFD-907A50D8E459}" destId="{81389209-5AC9-421C-AFCB-1A1693B556A1}" srcOrd="3" destOrd="0" presId="urn:microsoft.com/office/officeart/2018/5/layout/IconCircleLabelList"/>
    <dgm:cxn modelId="{2F565BD1-CE70-4309-9F1B-A2877EA4C06C}" type="presParOf" srcId="{F51B5FB9-1985-4B88-8CFD-907A50D8E459}" destId="{0C8D8FB9-A749-4E34-A040-C17F43542CF2}" srcOrd="4" destOrd="0" presId="urn:microsoft.com/office/officeart/2018/5/layout/IconCircleLabelList"/>
    <dgm:cxn modelId="{2DEED380-7F63-481C-B4C7-0AFC5A5CF653}" type="presParOf" srcId="{0C8D8FB9-A749-4E34-A040-C17F43542CF2}" destId="{81830755-AE3D-4795-BD47-6C680AE50F20}" srcOrd="0" destOrd="0" presId="urn:microsoft.com/office/officeart/2018/5/layout/IconCircleLabelList"/>
    <dgm:cxn modelId="{CBE39C88-BB00-4F81-B303-691CDE91F5D6}" type="presParOf" srcId="{0C8D8FB9-A749-4E34-A040-C17F43542CF2}" destId="{84933702-FB76-4C7B-8160-75E8B198A0D3}" srcOrd="1" destOrd="0" presId="urn:microsoft.com/office/officeart/2018/5/layout/IconCircleLabelList"/>
    <dgm:cxn modelId="{CC91E45C-6139-45D7-8B0F-619EF1947D30}" type="presParOf" srcId="{0C8D8FB9-A749-4E34-A040-C17F43542CF2}" destId="{0CAC0307-BAA9-491D-91AE-D046E0031761}" srcOrd="2" destOrd="0" presId="urn:microsoft.com/office/officeart/2018/5/layout/IconCircleLabelList"/>
    <dgm:cxn modelId="{92BF369E-68C5-4286-B4FB-07593C7396D4}" type="presParOf" srcId="{0C8D8FB9-A749-4E34-A040-C17F43542CF2}" destId="{443BBB73-26C0-4778-89A6-4783C774921F}" srcOrd="3" destOrd="0" presId="urn:microsoft.com/office/officeart/2018/5/layout/IconCircleLabelList"/>
    <dgm:cxn modelId="{FD12BC14-DE3D-4F64-B518-82D0908A27E5}" type="presParOf" srcId="{F51B5FB9-1985-4B88-8CFD-907A50D8E459}" destId="{83FD355F-FE9B-4F86-832C-F884EC222612}" srcOrd="5" destOrd="0" presId="urn:microsoft.com/office/officeart/2018/5/layout/IconCircleLabelList"/>
    <dgm:cxn modelId="{5881DD68-A190-4EA3-9AEB-9FBDFA323D58}" type="presParOf" srcId="{F51B5FB9-1985-4B88-8CFD-907A50D8E459}" destId="{AB489AF4-F5DD-4BB0-B6E1-C3ECA3FEEC5C}" srcOrd="6" destOrd="0" presId="urn:microsoft.com/office/officeart/2018/5/layout/IconCircleLabelList"/>
    <dgm:cxn modelId="{3D9D9925-4CC1-4693-9F8D-4E8DC468CD04}" type="presParOf" srcId="{AB489AF4-F5DD-4BB0-B6E1-C3ECA3FEEC5C}" destId="{65E5C0A7-2497-4FA8-A4A2-CB23B2BC4FA3}" srcOrd="0" destOrd="0" presId="urn:microsoft.com/office/officeart/2018/5/layout/IconCircleLabelList"/>
    <dgm:cxn modelId="{D0B539D7-7102-4AD2-A360-1F35E11FD585}" type="presParOf" srcId="{AB489AF4-F5DD-4BB0-B6E1-C3ECA3FEEC5C}" destId="{301AE5D2-1E40-4863-AA42-03E41EC517CD}" srcOrd="1" destOrd="0" presId="urn:microsoft.com/office/officeart/2018/5/layout/IconCircleLabelList"/>
    <dgm:cxn modelId="{956AD30B-A0DA-4A26-B4A4-1AF42F383346}" type="presParOf" srcId="{AB489AF4-F5DD-4BB0-B6E1-C3ECA3FEEC5C}" destId="{16AE0129-2FBA-4B0C-A6EC-E5C75CFABA0E}" srcOrd="2" destOrd="0" presId="urn:microsoft.com/office/officeart/2018/5/layout/IconCircleLabelList"/>
    <dgm:cxn modelId="{27D0F62B-4823-44CE-AB63-AF510CB70549}" type="presParOf" srcId="{AB489AF4-F5DD-4BB0-B6E1-C3ECA3FEEC5C}" destId="{C5C80D45-3F53-4A18-8121-03D3B92259FF}" srcOrd="3" destOrd="0" presId="urn:microsoft.com/office/officeart/2018/5/layout/IconCircleLabelList"/>
    <dgm:cxn modelId="{B81D43F1-93AF-47E4-A3C9-19E545B664B2}" type="presParOf" srcId="{F51B5FB9-1985-4B88-8CFD-907A50D8E459}" destId="{D70F6AE8-F10E-44A5-A7C7-03EBE7060A54}" srcOrd="7" destOrd="0" presId="urn:microsoft.com/office/officeart/2018/5/layout/IconCircleLabelList"/>
    <dgm:cxn modelId="{C6494680-D8DE-448A-971D-89E493AB1794}" type="presParOf" srcId="{F51B5FB9-1985-4B88-8CFD-907A50D8E459}" destId="{5FED5DFB-628B-4876-9E95-29A2E997165B}" srcOrd="8" destOrd="0" presId="urn:microsoft.com/office/officeart/2018/5/layout/IconCircleLabelList"/>
    <dgm:cxn modelId="{350EB5A3-D773-4DCE-A1DB-DBD8CDB1B787}" type="presParOf" srcId="{5FED5DFB-628B-4876-9E95-29A2E997165B}" destId="{4A785B0C-CE38-4E80-9C37-106C7752AF64}" srcOrd="0" destOrd="0" presId="urn:microsoft.com/office/officeart/2018/5/layout/IconCircleLabelList"/>
    <dgm:cxn modelId="{459ABEE8-0454-4978-9183-BCE68FA7D9ED}" type="presParOf" srcId="{5FED5DFB-628B-4876-9E95-29A2E997165B}" destId="{344FF632-9F72-4A57-AE80-A7ED2900AF0A}" srcOrd="1" destOrd="0" presId="urn:microsoft.com/office/officeart/2018/5/layout/IconCircleLabelList"/>
    <dgm:cxn modelId="{C230BD5F-17BA-4B09-A1A2-A566A46B55FD}" type="presParOf" srcId="{5FED5DFB-628B-4876-9E95-29A2E997165B}" destId="{6AD48404-8217-4861-97A8-C1FAAFD3BDEE}" srcOrd="2" destOrd="0" presId="urn:microsoft.com/office/officeart/2018/5/layout/IconCircleLabelList"/>
    <dgm:cxn modelId="{648F56CC-5E32-4D2B-9089-6BB2F3FFC4AE}" type="presParOf" srcId="{5FED5DFB-628B-4876-9E95-29A2E997165B}" destId="{329D0434-B03C-4125-B896-80BF34D7F866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EAB895-38AF-4B06-821E-07C3234984F3}">
      <dsp:nvSpPr>
        <dsp:cNvPr id="0" name=""/>
        <dsp:cNvSpPr/>
      </dsp:nvSpPr>
      <dsp:spPr>
        <a:xfrm>
          <a:off x="0" y="783"/>
          <a:ext cx="118553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0D8B86-2323-4B81-B807-C551498AA0BE}">
      <dsp:nvSpPr>
        <dsp:cNvPr id="0" name=""/>
        <dsp:cNvSpPr/>
      </dsp:nvSpPr>
      <dsp:spPr>
        <a:xfrm>
          <a:off x="0" y="0"/>
          <a:ext cx="11855334" cy="436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accent2"/>
              </a:solidFill>
            </a:rPr>
            <a:t>Jyrki Liljeroos</a:t>
          </a:r>
          <a:r>
            <a:rPr lang="en-GB" sz="1600" kern="1200" dirty="0">
              <a:solidFill>
                <a:schemeClr val="tx1"/>
              </a:solidFill>
            </a:rPr>
            <a:t>, Senior Ministerial Adviser and Board Professional, Chairman </a:t>
          </a:r>
          <a:r>
            <a:rPr lang="en-GB" sz="1600" kern="1200" dirty="0"/>
            <a:t>of the Board</a:t>
          </a:r>
          <a:endParaRPr lang="en-US" sz="1600" kern="1200" dirty="0"/>
        </a:p>
      </dsp:txBody>
      <dsp:txXfrm>
        <a:off x="0" y="0"/>
        <a:ext cx="11855334" cy="436637"/>
      </dsp:txXfrm>
    </dsp:sp>
    <dsp:sp modelId="{78D63585-6D68-4705-A0F6-AC27E49CB4F6}">
      <dsp:nvSpPr>
        <dsp:cNvPr id="0" name=""/>
        <dsp:cNvSpPr/>
      </dsp:nvSpPr>
      <dsp:spPr>
        <a:xfrm>
          <a:off x="0" y="437420"/>
          <a:ext cx="118553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A5C59A-28BC-47F8-B120-29ADE401E560}">
      <dsp:nvSpPr>
        <dsp:cNvPr id="0" name=""/>
        <dsp:cNvSpPr/>
      </dsp:nvSpPr>
      <dsp:spPr>
        <a:xfrm>
          <a:off x="0" y="437420"/>
          <a:ext cx="11855334" cy="436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accent2"/>
              </a:solidFill>
            </a:rPr>
            <a:t>Liisa Huhtala</a:t>
          </a:r>
          <a:r>
            <a:rPr lang="en-GB" sz="1600" kern="1200" dirty="0"/>
            <a:t>, Senior Ministerial Adviser at the Ministry of Economic Affairs and Employment, Vice-Chair of the Board </a:t>
          </a:r>
          <a:endParaRPr lang="en-US" sz="1600" kern="1200" dirty="0"/>
        </a:p>
      </dsp:txBody>
      <dsp:txXfrm>
        <a:off x="0" y="437420"/>
        <a:ext cx="11855334" cy="436637"/>
      </dsp:txXfrm>
    </dsp:sp>
    <dsp:sp modelId="{8AE5C0D6-D0B3-432E-8B20-3B5DBAADD7EE}">
      <dsp:nvSpPr>
        <dsp:cNvPr id="0" name=""/>
        <dsp:cNvSpPr/>
      </dsp:nvSpPr>
      <dsp:spPr>
        <a:xfrm>
          <a:off x="0" y="874058"/>
          <a:ext cx="118553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D7B1A3-4773-4786-9476-0DB6284D8DD1}">
      <dsp:nvSpPr>
        <dsp:cNvPr id="0" name=""/>
        <dsp:cNvSpPr/>
      </dsp:nvSpPr>
      <dsp:spPr>
        <a:xfrm>
          <a:off x="0" y="874058"/>
          <a:ext cx="11855334" cy="436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accent2"/>
              </a:solidFill>
            </a:rPr>
            <a:t>Tuula Helander</a:t>
          </a:r>
          <a:r>
            <a:rPr lang="en-GB" sz="1600" kern="1200" dirty="0"/>
            <a:t>, Deputy Director General, Biotechnology and Medicines unit, </a:t>
          </a:r>
          <a:r>
            <a:rPr lang="en-GB" sz="1600" b="0" i="0" kern="1200" dirty="0"/>
            <a:t>Ministry of Social Affairs and Health</a:t>
          </a:r>
          <a:endParaRPr lang="en-US" sz="1600" kern="1200" dirty="0"/>
        </a:p>
      </dsp:txBody>
      <dsp:txXfrm>
        <a:off x="0" y="874058"/>
        <a:ext cx="11855334" cy="436637"/>
      </dsp:txXfrm>
    </dsp:sp>
    <dsp:sp modelId="{3E4B775B-BA09-438B-B8AD-C450EE6C0624}">
      <dsp:nvSpPr>
        <dsp:cNvPr id="0" name=""/>
        <dsp:cNvSpPr/>
      </dsp:nvSpPr>
      <dsp:spPr>
        <a:xfrm>
          <a:off x="0" y="1310696"/>
          <a:ext cx="118553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BB782F-C10A-49BB-B60E-704C106769FE}">
      <dsp:nvSpPr>
        <dsp:cNvPr id="0" name=""/>
        <dsp:cNvSpPr/>
      </dsp:nvSpPr>
      <dsp:spPr>
        <a:xfrm>
          <a:off x="0" y="1310696"/>
          <a:ext cx="11855334" cy="436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accent2"/>
              </a:solidFill>
            </a:rPr>
            <a:t>Terhi Horppu</a:t>
          </a:r>
          <a:r>
            <a:rPr lang="en-GB" sz="1600" kern="1200" dirty="0"/>
            <a:t>, CFO, Blueprint Genetics Ltd</a:t>
          </a:r>
          <a:endParaRPr lang="en-US" sz="1600" kern="1200" dirty="0"/>
        </a:p>
      </dsp:txBody>
      <dsp:txXfrm>
        <a:off x="0" y="1310696"/>
        <a:ext cx="11855334" cy="436637"/>
      </dsp:txXfrm>
    </dsp:sp>
    <dsp:sp modelId="{D042B10D-2791-4F94-85C1-B78282CBA63F}">
      <dsp:nvSpPr>
        <dsp:cNvPr id="0" name=""/>
        <dsp:cNvSpPr/>
      </dsp:nvSpPr>
      <dsp:spPr>
        <a:xfrm>
          <a:off x="0" y="1747333"/>
          <a:ext cx="118553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EB9A00-7E29-47D5-951A-F8376EA53281}">
      <dsp:nvSpPr>
        <dsp:cNvPr id="0" name=""/>
        <dsp:cNvSpPr/>
      </dsp:nvSpPr>
      <dsp:spPr>
        <a:xfrm>
          <a:off x="0" y="1747333"/>
          <a:ext cx="11855334" cy="436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accent2"/>
              </a:solidFill>
            </a:rPr>
            <a:t>Anne Portaankorva</a:t>
          </a:r>
          <a:r>
            <a:rPr lang="en-GB" sz="1600" kern="1200" dirty="0"/>
            <a:t>, </a:t>
          </a:r>
          <a:r>
            <a:rPr lang="en-GB" sz="1600" b="0" i="0" kern="1200" dirty="0"/>
            <a:t>Vice Rector for Research and Sustainability, Professor in Neurology, University of Helsinki</a:t>
          </a:r>
          <a:endParaRPr lang="en-US" sz="1600" kern="1200" dirty="0">
            <a:highlight>
              <a:srgbClr val="FFFF00"/>
            </a:highlight>
          </a:endParaRPr>
        </a:p>
      </dsp:txBody>
      <dsp:txXfrm>
        <a:off x="0" y="1747333"/>
        <a:ext cx="11855334" cy="436637"/>
      </dsp:txXfrm>
    </dsp:sp>
    <dsp:sp modelId="{483919CC-5269-4386-9557-6132254E2D5F}">
      <dsp:nvSpPr>
        <dsp:cNvPr id="0" name=""/>
        <dsp:cNvSpPr/>
      </dsp:nvSpPr>
      <dsp:spPr>
        <a:xfrm>
          <a:off x="0" y="2183971"/>
          <a:ext cx="118553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F283FC-4400-412C-BF5D-76E15BD2E4D7}">
      <dsp:nvSpPr>
        <dsp:cNvPr id="0" name=""/>
        <dsp:cNvSpPr/>
      </dsp:nvSpPr>
      <dsp:spPr>
        <a:xfrm>
          <a:off x="0" y="2183971"/>
          <a:ext cx="11855334" cy="436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accent2"/>
              </a:solidFill>
            </a:rPr>
            <a:t>Ilpo Tolonen</a:t>
          </a:r>
          <a:r>
            <a:rPr lang="en-GB" sz="1600" kern="1200" dirty="0"/>
            <a:t>, CEO, </a:t>
          </a:r>
          <a:r>
            <a:rPr lang="en-GB" sz="1600" kern="1200" dirty="0" err="1"/>
            <a:t>Docrates</a:t>
          </a:r>
          <a:r>
            <a:rPr lang="en-GB" sz="1600" kern="1200" dirty="0"/>
            <a:t> Cancer Center</a:t>
          </a:r>
          <a:endParaRPr lang="en-US" sz="1600" kern="1200" dirty="0"/>
        </a:p>
      </dsp:txBody>
      <dsp:txXfrm>
        <a:off x="0" y="2183971"/>
        <a:ext cx="11855334" cy="436637"/>
      </dsp:txXfrm>
    </dsp:sp>
    <dsp:sp modelId="{7D1F0902-18C9-4065-AC47-6C0706C9AD7F}">
      <dsp:nvSpPr>
        <dsp:cNvPr id="0" name=""/>
        <dsp:cNvSpPr/>
      </dsp:nvSpPr>
      <dsp:spPr>
        <a:xfrm>
          <a:off x="0" y="2620608"/>
          <a:ext cx="118553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48DD15-4DAD-4CBD-BEAE-4D15F9D9CCEB}">
      <dsp:nvSpPr>
        <dsp:cNvPr id="0" name=""/>
        <dsp:cNvSpPr/>
      </dsp:nvSpPr>
      <dsp:spPr>
        <a:xfrm>
          <a:off x="0" y="2620608"/>
          <a:ext cx="11855334" cy="436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accent2"/>
              </a:solidFill>
            </a:rPr>
            <a:t>Jukka Westermarck</a:t>
          </a:r>
          <a:r>
            <a:rPr lang="en-GB" sz="1600" kern="1200" dirty="0"/>
            <a:t>, Professor, cancer biology, University of Turku</a:t>
          </a:r>
          <a:endParaRPr lang="en-US" sz="1600" kern="1200" dirty="0"/>
        </a:p>
      </dsp:txBody>
      <dsp:txXfrm>
        <a:off x="0" y="2620608"/>
        <a:ext cx="11855334" cy="436637"/>
      </dsp:txXfrm>
    </dsp:sp>
    <dsp:sp modelId="{8916FD8B-185A-4FF4-B21B-B8FD7B628AF2}">
      <dsp:nvSpPr>
        <dsp:cNvPr id="0" name=""/>
        <dsp:cNvSpPr/>
      </dsp:nvSpPr>
      <dsp:spPr>
        <a:xfrm>
          <a:off x="0" y="3057246"/>
          <a:ext cx="118553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1CF803-DEB4-4E12-B921-279A63A1CF1C}">
      <dsp:nvSpPr>
        <dsp:cNvPr id="0" name=""/>
        <dsp:cNvSpPr/>
      </dsp:nvSpPr>
      <dsp:spPr>
        <a:xfrm>
          <a:off x="0" y="3057246"/>
          <a:ext cx="11855334" cy="436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/>
        </a:p>
      </dsp:txBody>
      <dsp:txXfrm>
        <a:off x="0" y="3057246"/>
        <a:ext cx="11855334" cy="436637"/>
      </dsp:txXfrm>
    </dsp:sp>
    <dsp:sp modelId="{8A69CBE2-93B8-466F-899D-29B380A0899D}">
      <dsp:nvSpPr>
        <dsp:cNvPr id="0" name=""/>
        <dsp:cNvSpPr/>
      </dsp:nvSpPr>
      <dsp:spPr>
        <a:xfrm>
          <a:off x="0" y="3493884"/>
          <a:ext cx="118553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1253A1-2E89-4B50-9511-0048BD18CF79}">
      <dsp:nvSpPr>
        <dsp:cNvPr id="0" name=""/>
        <dsp:cNvSpPr/>
      </dsp:nvSpPr>
      <dsp:spPr>
        <a:xfrm>
          <a:off x="0" y="3493884"/>
          <a:ext cx="11855334" cy="4360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Board secretary: Tarja Enala, Head of Health 360 program, Business Finland</a:t>
          </a:r>
          <a:endParaRPr lang="en-US" sz="1600" kern="1200" dirty="0">
            <a:highlight>
              <a:srgbClr val="FFFF00"/>
            </a:highlight>
          </a:endParaRPr>
        </a:p>
      </dsp:txBody>
      <dsp:txXfrm>
        <a:off x="0" y="3493884"/>
        <a:ext cx="11855334" cy="4360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F4204A-6305-4288-AB73-C2853EAA6DFF}">
      <dsp:nvSpPr>
        <dsp:cNvPr id="0" name=""/>
        <dsp:cNvSpPr/>
      </dsp:nvSpPr>
      <dsp:spPr>
        <a:xfrm>
          <a:off x="684914" y="881402"/>
          <a:ext cx="1098000" cy="109800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1A6711-9255-46D6-84D0-EF892A88178F}">
      <dsp:nvSpPr>
        <dsp:cNvPr id="0" name=""/>
        <dsp:cNvSpPr/>
      </dsp:nvSpPr>
      <dsp:spPr>
        <a:xfrm>
          <a:off x="918914" y="1115402"/>
          <a:ext cx="630000" cy="630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2C557D-FCEB-4BAD-8CBF-ADDA438A275E}">
      <dsp:nvSpPr>
        <dsp:cNvPr id="0" name=""/>
        <dsp:cNvSpPr/>
      </dsp:nvSpPr>
      <dsp:spPr>
        <a:xfrm>
          <a:off x="333914" y="2321402"/>
          <a:ext cx="1800000" cy="99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600" kern="1200" dirty="0">
              <a:latin typeface="Arial Nova Cond" panose="020B0506020202020204" pitchFamily="34" charset="0"/>
            </a:rPr>
            <a:t>Building the team: key capabilities and management system </a:t>
          </a:r>
          <a:endParaRPr lang="fi-FI" sz="1600" kern="1200" dirty="0">
            <a:latin typeface="Arial Nova Cond" panose="020B0506020202020204" pitchFamily="34" charset="0"/>
          </a:endParaRPr>
        </a:p>
      </dsp:txBody>
      <dsp:txXfrm>
        <a:off x="333914" y="2321402"/>
        <a:ext cx="1800000" cy="990000"/>
      </dsp:txXfrm>
    </dsp:sp>
    <dsp:sp modelId="{FFAA8A0D-916A-4EF8-844F-C3AEB71EB346}">
      <dsp:nvSpPr>
        <dsp:cNvPr id="0" name=""/>
        <dsp:cNvSpPr/>
      </dsp:nvSpPr>
      <dsp:spPr>
        <a:xfrm>
          <a:off x="2799914" y="881402"/>
          <a:ext cx="1098000" cy="109800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9F82DC-441E-4BE9-A8D4-4CA0FAAC3191}">
      <dsp:nvSpPr>
        <dsp:cNvPr id="0" name=""/>
        <dsp:cNvSpPr/>
      </dsp:nvSpPr>
      <dsp:spPr>
        <a:xfrm>
          <a:off x="3033914" y="1115402"/>
          <a:ext cx="630000" cy="630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6257D4-4CB1-4697-BEBA-E3D03AF3B438}">
      <dsp:nvSpPr>
        <dsp:cNvPr id="0" name=""/>
        <dsp:cNvSpPr/>
      </dsp:nvSpPr>
      <dsp:spPr>
        <a:xfrm>
          <a:off x="2448914" y="2321402"/>
          <a:ext cx="1800000" cy="99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600" kern="1200">
              <a:latin typeface="Arial Nova Cond" panose="020B0506020202020204" pitchFamily="34" charset="0"/>
            </a:rPr>
            <a:t>Business models: services, case modelling &amp; budgeting</a:t>
          </a:r>
        </a:p>
      </dsp:txBody>
      <dsp:txXfrm>
        <a:off x="2448914" y="2321402"/>
        <a:ext cx="1800000" cy="990000"/>
      </dsp:txXfrm>
    </dsp:sp>
    <dsp:sp modelId="{81830755-AE3D-4795-BD47-6C680AE50F20}">
      <dsp:nvSpPr>
        <dsp:cNvPr id="0" name=""/>
        <dsp:cNvSpPr/>
      </dsp:nvSpPr>
      <dsp:spPr>
        <a:xfrm>
          <a:off x="4914914" y="881402"/>
          <a:ext cx="1098000" cy="109800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933702-FB76-4C7B-8160-75E8B198A0D3}">
      <dsp:nvSpPr>
        <dsp:cNvPr id="0" name=""/>
        <dsp:cNvSpPr/>
      </dsp:nvSpPr>
      <dsp:spPr>
        <a:xfrm>
          <a:off x="5148914" y="1115402"/>
          <a:ext cx="630000" cy="63000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3BBB73-26C0-4778-89A6-4783C774921F}">
      <dsp:nvSpPr>
        <dsp:cNvPr id="0" name=""/>
        <dsp:cNvSpPr/>
      </dsp:nvSpPr>
      <dsp:spPr>
        <a:xfrm>
          <a:off x="4563914" y="2321402"/>
          <a:ext cx="1800000" cy="99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600" kern="1200">
              <a:latin typeface="Arial Nova Cond" panose="020B0506020202020204" pitchFamily="34" charset="0"/>
            </a:rPr>
            <a:t>Networking and negotiations with key stakeholders </a:t>
          </a:r>
          <a:endParaRPr lang="fi-FI" sz="1600" kern="1200">
            <a:latin typeface="Arial Nova Cond" panose="020B0506020202020204" pitchFamily="34" charset="0"/>
          </a:endParaRPr>
        </a:p>
      </dsp:txBody>
      <dsp:txXfrm>
        <a:off x="4563914" y="2321402"/>
        <a:ext cx="1800000" cy="990000"/>
      </dsp:txXfrm>
    </dsp:sp>
    <dsp:sp modelId="{65E5C0A7-2497-4FA8-A4A2-CB23B2BC4FA3}">
      <dsp:nvSpPr>
        <dsp:cNvPr id="0" name=""/>
        <dsp:cNvSpPr/>
      </dsp:nvSpPr>
      <dsp:spPr>
        <a:xfrm>
          <a:off x="7029914" y="881402"/>
          <a:ext cx="1098000" cy="109800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1AE5D2-1E40-4863-AA42-03E41EC517CD}">
      <dsp:nvSpPr>
        <dsp:cNvPr id="0" name=""/>
        <dsp:cNvSpPr/>
      </dsp:nvSpPr>
      <dsp:spPr>
        <a:xfrm>
          <a:off x="7263914" y="1115402"/>
          <a:ext cx="630000" cy="63000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C80D45-3F53-4A18-8121-03D3B92259FF}">
      <dsp:nvSpPr>
        <dsp:cNvPr id="0" name=""/>
        <dsp:cNvSpPr/>
      </dsp:nvSpPr>
      <dsp:spPr>
        <a:xfrm>
          <a:off x="6678914" y="2321402"/>
          <a:ext cx="1800000" cy="99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600" kern="1200" dirty="0">
              <a:latin typeface="Arial Nova Cond" panose="020B0506020202020204" pitchFamily="34" charset="0"/>
            </a:rPr>
            <a:t>First program into development portfolio</a:t>
          </a:r>
          <a:endParaRPr lang="fi-FI" sz="1600" kern="1200" dirty="0">
            <a:latin typeface="Arial Nova Cond" panose="020B0506020202020204" pitchFamily="34" charset="0"/>
          </a:endParaRPr>
        </a:p>
      </dsp:txBody>
      <dsp:txXfrm>
        <a:off x="6678914" y="2321402"/>
        <a:ext cx="1800000" cy="990000"/>
      </dsp:txXfrm>
    </dsp:sp>
    <dsp:sp modelId="{4A785B0C-CE38-4E80-9C37-106C7752AF64}">
      <dsp:nvSpPr>
        <dsp:cNvPr id="0" name=""/>
        <dsp:cNvSpPr/>
      </dsp:nvSpPr>
      <dsp:spPr>
        <a:xfrm>
          <a:off x="9144914" y="881402"/>
          <a:ext cx="1098000" cy="109800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4FF632-9F72-4A57-AE80-A7ED2900AF0A}">
      <dsp:nvSpPr>
        <dsp:cNvPr id="0" name=""/>
        <dsp:cNvSpPr/>
      </dsp:nvSpPr>
      <dsp:spPr>
        <a:xfrm>
          <a:off x="9378914" y="1115402"/>
          <a:ext cx="630000" cy="630000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9D0434-B03C-4125-B896-80BF34D7F866}">
      <dsp:nvSpPr>
        <dsp:cNvPr id="0" name=""/>
        <dsp:cNvSpPr/>
      </dsp:nvSpPr>
      <dsp:spPr>
        <a:xfrm>
          <a:off x="8793914" y="2321402"/>
          <a:ext cx="1800000" cy="99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600" kern="1200">
              <a:latin typeface="Arial Nova Cond" panose="020B0506020202020204" pitchFamily="34" charset="0"/>
            </a:rPr>
            <a:t>Communication strategy and action plan</a:t>
          </a:r>
        </a:p>
      </dsp:txBody>
      <dsp:txXfrm>
        <a:off x="8793914" y="2321402"/>
        <a:ext cx="1800000" cy="99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56CE9E-55FE-8E45-B0D3-4B69FB6333CC}" type="datetimeFigureOut">
              <a:t>12.8.2024</a:t>
            </a:fld>
            <a:endParaRPr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947112-9AA3-5748-A3B7-2DBF1F981F32}" type="slidenum">
              <a:rPr lang="fi-FI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03981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 descr="Kuva, joka sisältää kohteen Värikkyys, luonto, valo, sateenkaari&#10;&#10;Kuvaus luotu automaattisesti">
            <a:extLst>
              <a:ext uri="{FF2B5EF4-FFF2-40B4-BE49-F238E27FC236}">
                <a16:creationId xmlns:a16="http://schemas.microsoft.com/office/drawing/2014/main" id="{FD2A3B26-B225-DCC7-1B27-C989AF0F23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3145332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3954276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latin typeface="PP Neue Machina Inktrap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CB6D81B1-595A-800A-5FF5-57172C70A27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756888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vaihdettav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A889D737-BB33-A692-CB2F-22A381ADB8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53198" y="0"/>
            <a:ext cx="5638801" cy="68580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2CC8834C-AA5F-88DA-CAD0-9A25BE8FA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E484E877-DF72-A4C3-9045-CE79CF16CE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70D3EBDB-48E1-4320-8983-D2B9C0226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5" name="Otsikko 1">
            <a:extLst>
              <a:ext uri="{FF2B5EF4-FFF2-40B4-BE49-F238E27FC236}">
                <a16:creationId xmlns:a16="http://schemas.microsoft.com/office/drawing/2014/main" id="{107941B5-DF7B-D521-9C20-D36CBA488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42FA3C47-22ED-4031-7EB3-E2CC9B57B3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0887711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 descr="Kuva, joka sisältää kohteen Värikkyys, luonto, valo, sateenkaari&#10;&#10;Kuvaus luotu automaattisesti">
            <a:extLst>
              <a:ext uri="{FF2B5EF4-FFF2-40B4-BE49-F238E27FC236}">
                <a16:creationId xmlns:a16="http://schemas.microsoft.com/office/drawing/2014/main" id="{FD2A3B26-B225-DCC7-1B27-C989AF0F23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1" y="3954276"/>
            <a:ext cx="5257800" cy="331501"/>
          </a:xfrm>
        </p:spPr>
        <p:txBody>
          <a:bodyPr wrap="square">
            <a:spAutoFit/>
          </a:bodyPr>
          <a:lstStyle>
            <a:lvl1pPr marL="0" indent="0" algn="l">
              <a:lnSpc>
                <a:spcPts val="1800"/>
              </a:lnSpc>
              <a:buNone/>
              <a:defRPr sz="1800" b="0" i="0">
                <a:latin typeface="PP Neue Machina Plain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64726C3A-1E3E-D743-FF08-3F82023D6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7" name="Päivämäärän paikkamerkki 3">
            <a:extLst>
              <a:ext uri="{FF2B5EF4-FFF2-40B4-BE49-F238E27FC236}">
                <a16:creationId xmlns:a16="http://schemas.microsoft.com/office/drawing/2014/main" id="{19C32793-7033-FE20-D5EF-CC5489D3D2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9" name="Dian numeron paikkamerkki 5">
            <a:extLst>
              <a:ext uri="{FF2B5EF4-FFF2-40B4-BE49-F238E27FC236}">
                <a16:creationId xmlns:a16="http://schemas.microsoft.com/office/drawing/2014/main" id="{276B1348-4BC8-D0F1-F240-C5E60CA9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7C7E4EC3-7E14-75F8-EE4F-782BFCCE3C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8200" y="2324100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2580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 descr="Kuva, joka sisältää kohteen Värikkyys, luonto, valo, sateenkaari&#10;&#10;Kuvaus luotu automaattisesti">
            <a:extLst>
              <a:ext uri="{FF2B5EF4-FFF2-40B4-BE49-F238E27FC236}">
                <a16:creationId xmlns:a16="http://schemas.microsoft.com/office/drawing/2014/main" id="{FD2A3B26-B225-DCC7-1B27-C989AF0F23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3145332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3954276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latin typeface="PP Neue Machina Inktrap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CB6D81B1-595A-800A-5FF5-57172C70A27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887593" y="291004"/>
            <a:ext cx="3035300" cy="11049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705593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, lääketieteellinen, Lääketieteelliset välineet, terveydenhuolto&#10;&#10;Kuvaus luotu automaattisesti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PP Neue Machina Inktrap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pic>
        <p:nvPicPr>
          <p:cNvPr id="8" name="Kuva 7" descr="Kuva, joka sisältää kohteen Fontti, teksti, Grafiikka, kuvakaappaus&#10;&#10;Kuvaus luotu automaattisesti">
            <a:extLst>
              <a:ext uri="{FF2B5EF4-FFF2-40B4-BE49-F238E27FC236}">
                <a16:creationId xmlns:a16="http://schemas.microsoft.com/office/drawing/2014/main" id="{CB6D81B1-595A-800A-5FF5-57172C70A2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7593" y="291004"/>
            <a:ext cx="3035300" cy="11049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50488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 descr="Kuva, joka sisältää kohteen Värikkyys, luovuus, violetti, taide&#10;&#10;Kuvaus luotu automaattisesti">
            <a:extLst>
              <a:ext uri="{FF2B5EF4-FFF2-40B4-BE49-F238E27FC236}">
                <a16:creationId xmlns:a16="http://schemas.microsoft.com/office/drawing/2014/main" id="{30C9FFB7-07F8-92FA-FD3B-1AD020406A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3317572"/>
            <a:ext cx="9868152" cy="598305"/>
          </a:xfrm>
        </p:spPr>
        <p:txBody>
          <a:bodyPr wrap="square" anchor="ctr" anchorCtr="0">
            <a:sp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14" name="Alatunnisteen paikkamerkki 4">
            <a:extLst>
              <a:ext uri="{FF2B5EF4-FFF2-40B4-BE49-F238E27FC236}">
                <a16:creationId xmlns:a16="http://schemas.microsoft.com/office/drawing/2014/main" id="{A7B4A495-74A5-53CC-F0A6-525ADF64F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4" y="6356350"/>
            <a:ext cx="7108302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5" name="Päivämäärän paikkamerkki 3">
            <a:extLst>
              <a:ext uri="{FF2B5EF4-FFF2-40B4-BE49-F238E27FC236}">
                <a16:creationId xmlns:a16="http://schemas.microsoft.com/office/drawing/2014/main" id="{08EF2B01-37F4-C2A5-D9A0-BF3452F835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6" name="Dian numeron paikkamerkki 5">
            <a:extLst>
              <a:ext uri="{FF2B5EF4-FFF2-40B4-BE49-F238E27FC236}">
                <a16:creationId xmlns:a16="http://schemas.microsoft.com/office/drawing/2014/main" id="{8FEA9F15-2D3B-F266-94CC-33FAFA063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65201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henkilö, lääketieteellinen, Lääketieteelliset välineet, terveydenhuolto&#10;&#10;Kuvaus luotu automaattisesti">
            <a:extLst>
              <a:ext uri="{FF2B5EF4-FFF2-40B4-BE49-F238E27FC236}">
                <a16:creationId xmlns:a16="http://schemas.microsoft.com/office/drawing/2014/main" id="{D9FD7CE6-9E90-7223-D551-3A1AB2AE9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Kuva 5" descr="Kuva, joka sisältää kohteen Värikkyys, Liila, luovuus&#10;&#10;Kuvaus luotu automaattisesti">
            <a:extLst>
              <a:ext uri="{FF2B5EF4-FFF2-40B4-BE49-F238E27FC236}">
                <a16:creationId xmlns:a16="http://schemas.microsoft.com/office/drawing/2014/main" id="{E4A13E8D-644F-51D0-702E-45817937E1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90701"/>
            <a:ext cx="12192000" cy="5067299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82317" y="4324350"/>
            <a:ext cx="8101926" cy="598305"/>
          </a:xfrm>
        </p:spPr>
        <p:txBody>
          <a:bodyPr wrap="square" anchor="t" anchorCtr="0">
            <a:sp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7" name="Alatunnisteen paikkamerkki 4">
            <a:extLst>
              <a:ext uri="{FF2B5EF4-FFF2-40B4-BE49-F238E27FC236}">
                <a16:creationId xmlns:a16="http://schemas.microsoft.com/office/drawing/2014/main" id="{7A0A21B3-19F2-5C37-8BDF-8A41332F5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sp>
        <p:nvSpPr>
          <p:cNvPr id="8" name="Päivämäärän paikkamerkki 3">
            <a:extLst>
              <a:ext uri="{FF2B5EF4-FFF2-40B4-BE49-F238E27FC236}">
                <a16:creationId xmlns:a16="http://schemas.microsoft.com/office/drawing/2014/main" id="{B21CCC25-A24F-69A5-6772-F1F096E9A5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10" name="Dian numeron paikkamerkki 5">
            <a:extLst>
              <a:ext uri="{FF2B5EF4-FFF2-40B4-BE49-F238E27FC236}">
                <a16:creationId xmlns:a16="http://schemas.microsoft.com/office/drawing/2014/main" id="{058CC635-8987-3505-0404-581EDB466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160539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44AEF072-2BF7-7089-FDA1-05B889CA7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313"/>
            <a:ext cx="10515600" cy="598305"/>
          </a:xfrm>
        </p:spPr>
        <p:txBody>
          <a:bodyPr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10515600" cy="2581989"/>
          </a:xfrm>
        </p:spPr>
        <p:txBody>
          <a:bodyPr numCol="2" spcCol="36000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43BAF1F-ABA6-69E4-E9F7-B2A83981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0ACB3B25-5162-C692-1087-64C9BF7D1B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A582F648-2C0A-9AD5-005C-3698EF2B3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7533EB09-51B3-4BE0-07E2-318AAB73AD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887593" y="291004"/>
            <a:ext cx="30353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9036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44AEF072-2BF7-7089-FDA1-05B889CA7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 spcCol="36000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43BAF1F-ABA6-69E4-E9F7-B2A83981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7" name="Päivämäärän paikkamerkki 3">
            <a:extLst>
              <a:ext uri="{FF2B5EF4-FFF2-40B4-BE49-F238E27FC236}">
                <a16:creationId xmlns:a16="http://schemas.microsoft.com/office/drawing/2014/main" id="{284A9954-002E-00D3-02CF-A3E85DC2E2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0" name="Dian numeron paikkamerkki 5">
            <a:extLst>
              <a:ext uri="{FF2B5EF4-FFF2-40B4-BE49-F238E27FC236}">
                <a16:creationId xmlns:a16="http://schemas.microsoft.com/office/drawing/2014/main" id="{EC6BE4FC-2691-D19B-1450-63435795E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72278FCE-A6B2-A610-D020-E8AC0F6A94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887593" y="291004"/>
            <a:ext cx="30353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9650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luettel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44AEF072-2BF7-7089-FDA1-05B889CA7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Alatunnisteen paikkamerkki 4">
            <a:extLst>
              <a:ext uri="{FF2B5EF4-FFF2-40B4-BE49-F238E27FC236}">
                <a16:creationId xmlns:a16="http://schemas.microsoft.com/office/drawing/2014/main" id="{5E68BD20-AD4F-FA56-D701-536F469EA7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0" name="Päivämäärän paikkamerkki 3">
            <a:extLst>
              <a:ext uri="{FF2B5EF4-FFF2-40B4-BE49-F238E27FC236}">
                <a16:creationId xmlns:a16="http://schemas.microsoft.com/office/drawing/2014/main" id="{0B8EB5A2-44B2-1172-970F-0E2498DF02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1" name="Dian numeron paikkamerkki 5">
            <a:extLst>
              <a:ext uri="{FF2B5EF4-FFF2-40B4-BE49-F238E27FC236}">
                <a16:creationId xmlns:a16="http://schemas.microsoft.com/office/drawing/2014/main" id="{D509AA86-95E2-DFFD-7A40-66D699C8A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93171085-7350-6030-61AE-836BE38DB8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887593" y="291004"/>
            <a:ext cx="30353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8426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luettel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Alatunnisteen paikkamerkki 4">
            <a:extLst>
              <a:ext uri="{FF2B5EF4-FFF2-40B4-BE49-F238E27FC236}">
                <a16:creationId xmlns:a16="http://schemas.microsoft.com/office/drawing/2014/main" id="{08AC42AC-1097-77B5-B69F-8FA1E0497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0" name="Päivämäärän paikkamerkki 3">
            <a:extLst>
              <a:ext uri="{FF2B5EF4-FFF2-40B4-BE49-F238E27FC236}">
                <a16:creationId xmlns:a16="http://schemas.microsoft.com/office/drawing/2014/main" id="{3BD8DBD4-7DCD-D1E7-9300-38884463DB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1" name="Dian numeron paikkamerkki 5">
            <a:extLst>
              <a:ext uri="{FF2B5EF4-FFF2-40B4-BE49-F238E27FC236}">
                <a16:creationId xmlns:a16="http://schemas.microsoft.com/office/drawing/2014/main" id="{FDC0E753-3C33-83F6-F935-E1E8D55A5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AD3C7E42-FE65-3802-4308-74DA5D5C4A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887593" y="291004"/>
            <a:ext cx="30353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345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, lääketieteellinen, Lääketieteelliset välineet, terveydenhuolto&#10;&#10;Kuvaus luotu automaattisesti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PP Neue Machina Inktrap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18ABB9DA-DEE8-1109-A59A-A20E8B153E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5912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 descr="Kuva, joka sisältää kohteen lääketieteellinen, Lääketieteelliset välineet, terveydenhuolto, Laboratoriotarvikkeet&#10;&#10;Kuvaus luotu automaattisesti">
            <a:extLst>
              <a:ext uri="{FF2B5EF4-FFF2-40B4-BE49-F238E27FC236}">
                <a16:creationId xmlns:a16="http://schemas.microsoft.com/office/drawing/2014/main" id="{9B2CA9FF-ABD8-2771-7214-5372DB8A2A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-1"/>
            <a:ext cx="5638800" cy="6858000"/>
          </a:xfrm>
          <a:prstGeom prst="rect">
            <a:avLst/>
          </a:prstGeom>
        </p:spPr>
      </p:pic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6021B098-EDC2-FD52-0AFE-4ADA7617B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9595286F-E8A1-5B09-3A37-76267B7F71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E07CF5A1-826B-ED33-9B2B-8CD3B065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3" name="Otsikko 1">
            <a:extLst>
              <a:ext uri="{FF2B5EF4-FFF2-40B4-BE49-F238E27FC236}">
                <a16:creationId xmlns:a16="http://schemas.microsoft.com/office/drawing/2014/main" id="{F848C0B0-C350-859B-354C-01589AD7A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5" name="Sisällön paikkamerkki 2">
            <a:extLst>
              <a:ext uri="{FF2B5EF4-FFF2-40B4-BE49-F238E27FC236}">
                <a16:creationId xmlns:a16="http://schemas.microsoft.com/office/drawing/2014/main" id="{E114B448-0BE3-5BDD-8A8C-69B4AB5FA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9514472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vaihdettav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A889D737-BB33-A692-CB2F-22A381ADB8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53198" y="0"/>
            <a:ext cx="5638801" cy="68580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2CC8834C-AA5F-88DA-CAD0-9A25BE8FA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E484E877-DF72-A4C3-9045-CE79CF16CE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70D3EBDB-48E1-4320-8983-D2B9C0226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5" name="Otsikko 1">
            <a:extLst>
              <a:ext uri="{FF2B5EF4-FFF2-40B4-BE49-F238E27FC236}">
                <a16:creationId xmlns:a16="http://schemas.microsoft.com/office/drawing/2014/main" id="{107941B5-DF7B-D521-9C20-D36CBA488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42FA3C47-22ED-4031-7EB3-E2CC9B57B3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3917981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 descr="Kuva, joka sisältää kohteen Värikkyys, luonto, valo, sateenkaari&#10;&#10;Kuvaus luotu automaattisesti">
            <a:extLst>
              <a:ext uri="{FF2B5EF4-FFF2-40B4-BE49-F238E27FC236}">
                <a16:creationId xmlns:a16="http://schemas.microsoft.com/office/drawing/2014/main" id="{FD2A3B26-B225-DCC7-1B27-C989AF0F23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1" y="3954276"/>
            <a:ext cx="5257800" cy="331501"/>
          </a:xfrm>
        </p:spPr>
        <p:txBody>
          <a:bodyPr wrap="square">
            <a:spAutoFit/>
          </a:bodyPr>
          <a:lstStyle>
            <a:lvl1pPr marL="0" indent="0" algn="l">
              <a:lnSpc>
                <a:spcPts val="1800"/>
              </a:lnSpc>
              <a:buNone/>
              <a:defRPr sz="1800" b="0" i="0">
                <a:latin typeface="PP Neue Machina Plain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64726C3A-1E3E-D743-FF08-3F82023D6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7" name="Päivämäärän paikkamerkki 3">
            <a:extLst>
              <a:ext uri="{FF2B5EF4-FFF2-40B4-BE49-F238E27FC236}">
                <a16:creationId xmlns:a16="http://schemas.microsoft.com/office/drawing/2014/main" id="{19C32793-7033-FE20-D5EF-CC5489D3D2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9" name="Dian numeron paikkamerkki 5">
            <a:extLst>
              <a:ext uri="{FF2B5EF4-FFF2-40B4-BE49-F238E27FC236}">
                <a16:creationId xmlns:a16="http://schemas.microsoft.com/office/drawing/2014/main" id="{276B1348-4BC8-D0F1-F240-C5E60CA9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2" name="Kuva 1">
            <a:extLst>
              <a:ext uri="{FF2B5EF4-FFF2-40B4-BE49-F238E27FC236}">
                <a16:creationId xmlns:a16="http://schemas.microsoft.com/office/drawing/2014/main" id="{3DABF8AA-A9F8-E4A9-2A1B-A4B952BBCB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8200" y="2324100"/>
            <a:ext cx="30353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3807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, lääketieteellinen, Lääketieteelliset välineet, terveydenhuolto&#10;&#10;Kuvaus luotu automaattisesti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8F90D820-2ED6-2651-8609-263F8C61F2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0604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8F90D820-2ED6-2651-8609-263F8C61F2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5299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8F90D820-2ED6-2651-8609-263F8C61F2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1895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8F90D820-2ED6-2651-8609-263F8C61F2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2933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8F90D820-2ED6-2651-8609-263F8C61F2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3972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8F90D820-2ED6-2651-8609-263F8C61F23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3638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 descr="Kuva, joka sisältää kohteen Värikkyys, luonto, valo, sateenkaari&#10;&#10;Kuvaus luotu automaattisesti">
            <a:extLst>
              <a:ext uri="{FF2B5EF4-FFF2-40B4-BE49-F238E27FC236}">
                <a16:creationId xmlns:a16="http://schemas.microsoft.com/office/drawing/2014/main" id="{FD2A3B26-B225-DCC7-1B27-C989AF0F23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3145332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latin typeface="+mj-lt"/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3954276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CB6D81B1-595A-800A-5FF5-57172C70A27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3213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 descr="Kuva, joka sisältää kohteen Värikkyys, luovuus, violetti, taide&#10;&#10;Kuvaus luotu automaattisesti">
            <a:extLst>
              <a:ext uri="{FF2B5EF4-FFF2-40B4-BE49-F238E27FC236}">
                <a16:creationId xmlns:a16="http://schemas.microsoft.com/office/drawing/2014/main" id="{30C9FFB7-07F8-92FA-FD3B-1AD020406A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3317572"/>
            <a:ext cx="9868152" cy="598305"/>
          </a:xfrm>
        </p:spPr>
        <p:txBody>
          <a:bodyPr wrap="square" anchor="ctr" anchorCtr="0">
            <a:sp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14" name="Alatunnisteen paikkamerkki 4">
            <a:extLst>
              <a:ext uri="{FF2B5EF4-FFF2-40B4-BE49-F238E27FC236}">
                <a16:creationId xmlns:a16="http://schemas.microsoft.com/office/drawing/2014/main" id="{A7B4A495-74A5-53CC-F0A6-525ADF64F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4" y="6356350"/>
            <a:ext cx="7108302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5" name="Päivämäärän paikkamerkki 3">
            <a:extLst>
              <a:ext uri="{FF2B5EF4-FFF2-40B4-BE49-F238E27FC236}">
                <a16:creationId xmlns:a16="http://schemas.microsoft.com/office/drawing/2014/main" id="{08EF2B01-37F4-C2A5-D9A0-BF3452F835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6" name="Dian numeron paikkamerkki 5">
            <a:extLst>
              <a:ext uri="{FF2B5EF4-FFF2-40B4-BE49-F238E27FC236}">
                <a16:creationId xmlns:a16="http://schemas.microsoft.com/office/drawing/2014/main" id="{8FEA9F15-2D3B-F266-94CC-33FAFA063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615029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, lääketieteellinen, Lääketieteelliset välineet, terveydenhuolto&#10;&#10;Kuvaus luotu automaattisesti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18ABB9DA-DEE8-1109-A59A-A20E8B153E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0227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18ABB9DA-DEE8-1109-A59A-A20E8B153E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8440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18ABB9DA-DEE8-1109-A59A-A20E8B153E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9543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18ABB9DA-DEE8-1109-A59A-A20E8B153E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7101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18ABB9DA-DEE8-1109-A59A-A20E8B153E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5553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98FBD846-FEF5-473F-D18F-96F018DFC1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Kuva 4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12E64FAE-B75E-E887-B1DC-7C648E9247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4883297"/>
            <a:ext cx="9868152" cy="710772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692241"/>
            <a:ext cx="9868151" cy="446917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4A383E1-12C5-5A5B-BD9E-AC2DA0EC6B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E0265F-2754-A0D4-D766-D91F325CD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8E533976-3ED5-0376-7B25-A390F3D7D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18ABB9DA-DEE8-1109-A59A-A20E8B153E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111537" y="291004"/>
            <a:ext cx="2811356" cy="110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2784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 descr="Kuva, joka sisältää kohteen Värikkyys, luovuus, violetti, taide&#10;&#10;Kuvaus luotu automaattisesti">
            <a:extLst>
              <a:ext uri="{FF2B5EF4-FFF2-40B4-BE49-F238E27FC236}">
                <a16:creationId xmlns:a16="http://schemas.microsoft.com/office/drawing/2014/main" id="{30C9FFB7-07F8-92FA-FD3B-1AD020406A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3317572"/>
            <a:ext cx="9868152" cy="598305"/>
          </a:xfrm>
        </p:spPr>
        <p:txBody>
          <a:bodyPr wrap="square" anchor="ctr" anchorCtr="0">
            <a:spAutoFit/>
          </a:bodyPr>
          <a:lstStyle>
            <a:lvl1pPr algn="l"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14" name="Alatunnisteen paikkamerkki 4">
            <a:extLst>
              <a:ext uri="{FF2B5EF4-FFF2-40B4-BE49-F238E27FC236}">
                <a16:creationId xmlns:a16="http://schemas.microsoft.com/office/drawing/2014/main" id="{A7B4A495-74A5-53CC-F0A6-525ADF64F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4" y="6356350"/>
            <a:ext cx="7108302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5" name="Päivämäärän paikkamerkki 3">
            <a:extLst>
              <a:ext uri="{FF2B5EF4-FFF2-40B4-BE49-F238E27FC236}">
                <a16:creationId xmlns:a16="http://schemas.microsoft.com/office/drawing/2014/main" id="{08EF2B01-37F4-C2A5-D9A0-BF3452F835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6" name="Dian numeron paikkamerkki 5">
            <a:extLst>
              <a:ext uri="{FF2B5EF4-FFF2-40B4-BE49-F238E27FC236}">
                <a16:creationId xmlns:a16="http://schemas.microsoft.com/office/drawing/2014/main" id="{8FEA9F15-2D3B-F266-94CC-33FAFA063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397308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henkilö, lääketieteellinen, Lääketieteelliset välineet, terveydenhuolto&#10;&#10;Kuvaus luotu automaattisesti">
            <a:extLst>
              <a:ext uri="{FF2B5EF4-FFF2-40B4-BE49-F238E27FC236}">
                <a16:creationId xmlns:a16="http://schemas.microsoft.com/office/drawing/2014/main" id="{D9FD7CE6-9E90-7223-D551-3A1AB2AE9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Kuva 5" descr="Kuva, joka sisältää kohteen Värikkyys, Liila, luovuus&#10;&#10;Kuvaus luotu automaattisesti">
            <a:extLst>
              <a:ext uri="{FF2B5EF4-FFF2-40B4-BE49-F238E27FC236}">
                <a16:creationId xmlns:a16="http://schemas.microsoft.com/office/drawing/2014/main" id="{E4A13E8D-644F-51D0-702E-45817937E1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90701"/>
            <a:ext cx="12192000" cy="5067299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82317" y="4324350"/>
            <a:ext cx="8101926" cy="598305"/>
          </a:xfrm>
        </p:spPr>
        <p:txBody>
          <a:bodyPr wrap="square" anchor="t" anchorCtr="0">
            <a:sp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7" name="Alatunnisteen paikkamerkki 4">
            <a:extLst>
              <a:ext uri="{FF2B5EF4-FFF2-40B4-BE49-F238E27FC236}">
                <a16:creationId xmlns:a16="http://schemas.microsoft.com/office/drawing/2014/main" id="{7A0A21B3-19F2-5C37-8BDF-8A41332F5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sp>
        <p:nvSpPr>
          <p:cNvPr id="8" name="Päivämäärän paikkamerkki 3">
            <a:extLst>
              <a:ext uri="{FF2B5EF4-FFF2-40B4-BE49-F238E27FC236}">
                <a16:creationId xmlns:a16="http://schemas.microsoft.com/office/drawing/2014/main" id="{B21CCC25-A24F-69A5-6772-F1F096E9A5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10" name="Dian numeron paikkamerkki 5">
            <a:extLst>
              <a:ext uri="{FF2B5EF4-FFF2-40B4-BE49-F238E27FC236}">
                <a16:creationId xmlns:a16="http://schemas.microsoft.com/office/drawing/2014/main" id="{058CC635-8987-3505-0404-581EDB466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18340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44AEF072-2BF7-7089-FDA1-05B889CA7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313"/>
            <a:ext cx="10515600" cy="598305"/>
          </a:xfrm>
        </p:spPr>
        <p:txBody>
          <a:bodyPr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10515600" cy="2581989"/>
          </a:xfrm>
        </p:spPr>
        <p:txBody>
          <a:bodyPr numCol="2" spcCol="36000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43BAF1F-ABA6-69E4-E9F7-B2A83981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0ACB3B25-5162-C692-1087-64C9BF7D1B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A582F648-2C0A-9AD5-005C-3698EF2B3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BBCD06D7-36BD-9B8D-CCFC-6CD14903B4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5743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44AEF072-2BF7-7089-FDA1-05B889CA7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 spcCol="36000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43BAF1F-ABA6-69E4-E9F7-B2A83981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7" name="Päivämäärän paikkamerkki 3">
            <a:extLst>
              <a:ext uri="{FF2B5EF4-FFF2-40B4-BE49-F238E27FC236}">
                <a16:creationId xmlns:a16="http://schemas.microsoft.com/office/drawing/2014/main" id="{284A9954-002E-00D3-02CF-A3E85DC2E2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0" name="Dian numeron paikkamerkki 5">
            <a:extLst>
              <a:ext uri="{FF2B5EF4-FFF2-40B4-BE49-F238E27FC236}">
                <a16:creationId xmlns:a16="http://schemas.microsoft.com/office/drawing/2014/main" id="{EC6BE4FC-2691-D19B-1450-63435795E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0C184BA9-70D0-2B80-08BE-EBC25A7CA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211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henkilö, lääketieteellinen, Lääketieteelliset välineet, terveydenhuolto&#10;&#10;Kuvaus luotu automaattisesti">
            <a:extLst>
              <a:ext uri="{FF2B5EF4-FFF2-40B4-BE49-F238E27FC236}">
                <a16:creationId xmlns:a16="http://schemas.microsoft.com/office/drawing/2014/main" id="{D9FD7CE6-9E90-7223-D551-3A1AB2AE9E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Kuva 5" descr="Kuva, joka sisältää kohteen Värikkyys, Liila, luovuus&#10;&#10;Kuvaus luotu automaattisesti">
            <a:extLst>
              <a:ext uri="{FF2B5EF4-FFF2-40B4-BE49-F238E27FC236}">
                <a16:creationId xmlns:a16="http://schemas.microsoft.com/office/drawing/2014/main" id="{E4A13E8D-644F-51D0-702E-45817937E1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90701"/>
            <a:ext cx="12192000" cy="5067299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B340AFEB-9F14-D9BE-2371-5FCB56D4D3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82317" y="4324350"/>
            <a:ext cx="8101926" cy="598305"/>
          </a:xfrm>
        </p:spPr>
        <p:txBody>
          <a:bodyPr wrap="square" anchor="t" anchorCtr="0">
            <a:sp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7" name="Alatunnisteen paikkamerkki 4">
            <a:extLst>
              <a:ext uri="{FF2B5EF4-FFF2-40B4-BE49-F238E27FC236}">
                <a16:creationId xmlns:a16="http://schemas.microsoft.com/office/drawing/2014/main" id="{7A0A21B3-19F2-5C37-8BDF-8A41332F5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472" y="6356350"/>
            <a:ext cx="710830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sp>
        <p:nvSpPr>
          <p:cNvPr id="8" name="Päivämäärän paikkamerkki 3">
            <a:extLst>
              <a:ext uri="{FF2B5EF4-FFF2-40B4-BE49-F238E27FC236}">
                <a16:creationId xmlns:a16="http://schemas.microsoft.com/office/drawing/2014/main" id="{B21CCC25-A24F-69A5-6772-F1F096E9A5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10" name="Dian numeron paikkamerkki 5">
            <a:extLst>
              <a:ext uri="{FF2B5EF4-FFF2-40B4-BE49-F238E27FC236}">
                <a16:creationId xmlns:a16="http://schemas.microsoft.com/office/drawing/2014/main" id="{058CC635-8987-3505-0404-581EDB466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03700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luettel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44AEF072-2BF7-7089-FDA1-05B889CA7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Alatunnisteen paikkamerkki 4">
            <a:extLst>
              <a:ext uri="{FF2B5EF4-FFF2-40B4-BE49-F238E27FC236}">
                <a16:creationId xmlns:a16="http://schemas.microsoft.com/office/drawing/2014/main" id="{5E68BD20-AD4F-FA56-D701-536F469EA7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0" name="Päivämäärän paikkamerkki 3">
            <a:extLst>
              <a:ext uri="{FF2B5EF4-FFF2-40B4-BE49-F238E27FC236}">
                <a16:creationId xmlns:a16="http://schemas.microsoft.com/office/drawing/2014/main" id="{0B8EB5A2-44B2-1172-970F-0E2498DF02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1" name="Dian numeron paikkamerkki 5">
            <a:extLst>
              <a:ext uri="{FF2B5EF4-FFF2-40B4-BE49-F238E27FC236}">
                <a16:creationId xmlns:a16="http://schemas.microsoft.com/office/drawing/2014/main" id="{D509AA86-95E2-DFFD-7A40-66D699C8A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8447E5F4-AA2A-CC40-E2E6-C2BC6DCCEF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8386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luettel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Alatunnisteen paikkamerkki 4">
            <a:extLst>
              <a:ext uri="{FF2B5EF4-FFF2-40B4-BE49-F238E27FC236}">
                <a16:creationId xmlns:a16="http://schemas.microsoft.com/office/drawing/2014/main" id="{08AC42AC-1097-77B5-B69F-8FA1E0497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0" name="Päivämäärän paikkamerkki 3">
            <a:extLst>
              <a:ext uri="{FF2B5EF4-FFF2-40B4-BE49-F238E27FC236}">
                <a16:creationId xmlns:a16="http://schemas.microsoft.com/office/drawing/2014/main" id="{3BD8DBD4-7DCD-D1E7-9300-38884463DB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1" name="Dian numeron paikkamerkki 5">
            <a:extLst>
              <a:ext uri="{FF2B5EF4-FFF2-40B4-BE49-F238E27FC236}">
                <a16:creationId xmlns:a16="http://schemas.microsoft.com/office/drawing/2014/main" id="{FDC0E753-3C33-83F6-F935-E1E8D55A5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A242C3E4-36E9-E44F-DF23-EC95826C2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2925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 descr="Kuva, joka sisältää kohteen lääketieteellinen, Lääketieteelliset välineet, terveydenhuolto, Laboratoriotarvikkeet&#10;&#10;Kuvaus luotu automaattisesti">
            <a:extLst>
              <a:ext uri="{FF2B5EF4-FFF2-40B4-BE49-F238E27FC236}">
                <a16:creationId xmlns:a16="http://schemas.microsoft.com/office/drawing/2014/main" id="{9B2CA9FF-ABD8-2771-7214-5372DB8A2A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-1"/>
            <a:ext cx="5638800" cy="6858000"/>
          </a:xfrm>
          <a:prstGeom prst="rect">
            <a:avLst/>
          </a:prstGeom>
        </p:spPr>
      </p:pic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6021B098-EDC2-FD52-0AFE-4ADA7617B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9595286F-E8A1-5B09-3A37-76267B7F71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E07CF5A1-826B-ED33-9B2B-8CD3B065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3" name="Otsikko 1">
            <a:extLst>
              <a:ext uri="{FF2B5EF4-FFF2-40B4-BE49-F238E27FC236}">
                <a16:creationId xmlns:a16="http://schemas.microsoft.com/office/drawing/2014/main" id="{F848C0B0-C350-859B-354C-01589AD7A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5" name="Sisällön paikkamerkki 2">
            <a:extLst>
              <a:ext uri="{FF2B5EF4-FFF2-40B4-BE49-F238E27FC236}">
                <a16:creationId xmlns:a16="http://schemas.microsoft.com/office/drawing/2014/main" id="{E114B448-0BE3-5BDD-8A8C-69B4AB5FA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0862868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, 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>
            <a:extLst>
              <a:ext uri="{FF2B5EF4-FFF2-40B4-BE49-F238E27FC236}">
                <a16:creationId xmlns:a16="http://schemas.microsoft.com/office/drawing/2014/main" id="{9AFB7F52-9D83-9C74-6945-4D5D452AF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9062" r="14688"/>
          <a:stretch/>
        </p:blipFill>
        <p:spPr>
          <a:xfrm>
            <a:off x="6553200" y="0"/>
            <a:ext cx="5638800" cy="6858000"/>
          </a:xfrm>
          <a:prstGeom prst="rect">
            <a:avLst/>
          </a:prstGeom>
        </p:spPr>
      </p:pic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6021B098-EDC2-FD52-0AFE-4ADA7617B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9595286F-E8A1-5B09-3A37-76267B7F71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E07CF5A1-826B-ED33-9B2B-8CD3B065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3" name="Otsikko 1">
            <a:extLst>
              <a:ext uri="{FF2B5EF4-FFF2-40B4-BE49-F238E27FC236}">
                <a16:creationId xmlns:a16="http://schemas.microsoft.com/office/drawing/2014/main" id="{F848C0B0-C350-859B-354C-01589AD7A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5" name="Sisällön paikkamerkki 2">
            <a:extLst>
              <a:ext uri="{FF2B5EF4-FFF2-40B4-BE49-F238E27FC236}">
                <a16:creationId xmlns:a16="http://schemas.microsoft.com/office/drawing/2014/main" id="{E114B448-0BE3-5BDD-8A8C-69B4AB5FA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8350776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, sisältö ja kuv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>
            <a:extLst>
              <a:ext uri="{FF2B5EF4-FFF2-40B4-BE49-F238E27FC236}">
                <a16:creationId xmlns:a16="http://schemas.microsoft.com/office/drawing/2014/main" id="{795C9A82-EEF6-ACB7-3CA8-B1E3A2574B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313" r="28437"/>
          <a:stretch/>
        </p:blipFill>
        <p:spPr>
          <a:xfrm>
            <a:off x="6553200" y="0"/>
            <a:ext cx="5638800" cy="6858000"/>
          </a:xfrm>
          <a:prstGeom prst="rect">
            <a:avLst/>
          </a:prstGeom>
        </p:spPr>
      </p:pic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6021B098-EDC2-FD52-0AFE-4ADA7617B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9595286F-E8A1-5B09-3A37-76267B7F71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E07CF5A1-826B-ED33-9B2B-8CD3B065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3" name="Otsikko 1">
            <a:extLst>
              <a:ext uri="{FF2B5EF4-FFF2-40B4-BE49-F238E27FC236}">
                <a16:creationId xmlns:a16="http://schemas.microsoft.com/office/drawing/2014/main" id="{F848C0B0-C350-859B-354C-01589AD7A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5" name="Sisällön paikkamerkki 2">
            <a:extLst>
              <a:ext uri="{FF2B5EF4-FFF2-40B4-BE49-F238E27FC236}">
                <a16:creationId xmlns:a16="http://schemas.microsoft.com/office/drawing/2014/main" id="{E114B448-0BE3-5BDD-8A8C-69B4AB5FA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7030683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, sisältö ja kuv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>
            <a:extLst>
              <a:ext uri="{FF2B5EF4-FFF2-40B4-BE49-F238E27FC236}">
                <a16:creationId xmlns:a16="http://schemas.microsoft.com/office/drawing/2014/main" id="{F377ED4A-7D20-10BC-78D8-D5C0D6C346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714" r="41036"/>
          <a:stretch/>
        </p:blipFill>
        <p:spPr>
          <a:xfrm>
            <a:off x="6553200" y="0"/>
            <a:ext cx="5638800" cy="6858000"/>
          </a:xfrm>
          <a:prstGeom prst="rect">
            <a:avLst/>
          </a:prstGeom>
        </p:spPr>
      </p:pic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6021B098-EDC2-FD52-0AFE-4ADA7617B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9595286F-E8A1-5B09-3A37-76267B7F71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E07CF5A1-826B-ED33-9B2B-8CD3B065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3" name="Otsikko 1">
            <a:extLst>
              <a:ext uri="{FF2B5EF4-FFF2-40B4-BE49-F238E27FC236}">
                <a16:creationId xmlns:a16="http://schemas.microsoft.com/office/drawing/2014/main" id="{F848C0B0-C350-859B-354C-01589AD7A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5" name="Sisällön paikkamerkki 2">
            <a:extLst>
              <a:ext uri="{FF2B5EF4-FFF2-40B4-BE49-F238E27FC236}">
                <a16:creationId xmlns:a16="http://schemas.microsoft.com/office/drawing/2014/main" id="{E114B448-0BE3-5BDD-8A8C-69B4AB5FA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0554652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, sisältö ja kuv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>
            <a:extLst>
              <a:ext uri="{FF2B5EF4-FFF2-40B4-BE49-F238E27FC236}">
                <a16:creationId xmlns:a16="http://schemas.microsoft.com/office/drawing/2014/main" id="{90A1CDDB-A136-5897-9824-5AA87C63C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812" r="21938"/>
          <a:stretch/>
        </p:blipFill>
        <p:spPr>
          <a:xfrm>
            <a:off x="6553200" y="0"/>
            <a:ext cx="5638800" cy="6858000"/>
          </a:xfrm>
          <a:prstGeom prst="rect">
            <a:avLst/>
          </a:prstGeom>
        </p:spPr>
      </p:pic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6021B098-EDC2-FD52-0AFE-4ADA7617B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9595286F-E8A1-5B09-3A37-76267B7F71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E07CF5A1-826B-ED33-9B2B-8CD3B065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3" name="Otsikko 1">
            <a:extLst>
              <a:ext uri="{FF2B5EF4-FFF2-40B4-BE49-F238E27FC236}">
                <a16:creationId xmlns:a16="http://schemas.microsoft.com/office/drawing/2014/main" id="{F848C0B0-C350-859B-354C-01589AD7A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5" name="Sisällön paikkamerkki 2">
            <a:extLst>
              <a:ext uri="{FF2B5EF4-FFF2-40B4-BE49-F238E27FC236}">
                <a16:creationId xmlns:a16="http://schemas.microsoft.com/office/drawing/2014/main" id="{E114B448-0BE3-5BDD-8A8C-69B4AB5FA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9714455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, sisältö ja kuv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>
            <a:extLst>
              <a:ext uri="{FF2B5EF4-FFF2-40B4-BE49-F238E27FC236}">
                <a16:creationId xmlns:a16="http://schemas.microsoft.com/office/drawing/2014/main" id="{FC16C906-A2D8-A800-B111-7F002F1AC1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9976" r="13774"/>
          <a:stretch/>
        </p:blipFill>
        <p:spPr>
          <a:xfrm>
            <a:off x="6553200" y="0"/>
            <a:ext cx="5638800" cy="6858000"/>
          </a:xfrm>
          <a:prstGeom prst="rect">
            <a:avLst/>
          </a:prstGeom>
        </p:spPr>
      </p:pic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6021B098-EDC2-FD52-0AFE-4ADA7617B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9595286F-E8A1-5B09-3A37-76267B7F71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E07CF5A1-826B-ED33-9B2B-8CD3B065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3" name="Otsikko 1">
            <a:extLst>
              <a:ext uri="{FF2B5EF4-FFF2-40B4-BE49-F238E27FC236}">
                <a16:creationId xmlns:a16="http://schemas.microsoft.com/office/drawing/2014/main" id="{F848C0B0-C350-859B-354C-01589AD7A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5" name="Sisällön paikkamerkki 2">
            <a:extLst>
              <a:ext uri="{FF2B5EF4-FFF2-40B4-BE49-F238E27FC236}">
                <a16:creationId xmlns:a16="http://schemas.microsoft.com/office/drawing/2014/main" id="{E114B448-0BE3-5BDD-8A8C-69B4AB5FA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484846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vaihdettav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A889D737-BB33-A692-CB2F-22A381ADB8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553198" y="0"/>
            <a:ext cx="5638801" cy="68580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2CC8834C-AA5F-88DA-CAD0-9A25BE8FA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E484E877-DF72-A4C3-9045-CE79CF16CE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70D3EBDB-48E1-4320-8983-D2B9C0226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5" name="Otsikko 1">
            <a:extLst>
              <a:ext uri="{FF2B5EF4-FFF2-40B4-BE49-F238E27FC236}">
                <a16:creationId xmlns:a16="http://schemas.microsoft.com/office/drawing/2014/main" id="{107941B5-DF7B-D521-9C20-D36CBA488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6" name="Sisällön paikkamerkki 2">
            <a:extLst>
              <a:ext uri="{FF2B5EF4-FFF2-40B4-BE49-F238E27FC236}">
                <a16:creationId xmlns:a16="http://schemas.microsoft.com/office/drawing/2014/main" id="{42FA3C47-22ED-4031-7EB3-E2CC9B57B3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3344116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 descr="Kuva, joka sisältää kohteen Värikkyys, luonto, valo, sateenkaari&#10;&#10;Kuvaus luotu automaattisesti">
            <a:extLst>
              <a:ext uri="{FF2B5EF4-FFF2-40B4-BE49-F238E27FC236}">
                <a16:creationId xmlns:a16="http://schemas.microsoft.com/office/drawing/2014/main" id="{FD2A3B26-B225-DCC7-1B27-C989AF0F23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Alaotsikko 2">
            <a:extLst>
              <a:ext uri="{FF2B5EF4-FFF2-40B4-BE49-F238E27FC236}">
                <a16:creationId xmlns:a16="http://schemas.microsoft.com/office/drawing/2014/main" id="{0FA94A88-C9FE-7BD8-473A-5003E5D57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1" y="3954276"/>
            <a:ext cx="5257800" cy="331501"/>
          </a:xfrm>
        </p:spPr>
        <p:txBody>
          <a:bodyPr wrap="square">
            <a:spAutoFit/>
          </a:bodyPr>
          <a:lstStyle>
            <a:lvl1pPr marL="0" indent="0" algn="l">
              <a:lnSpc>
                <a:spcPts val="1800"/>
              </a:lnSpc>
              <a:buNone/>
              <a:defRPr sz="1800" b="0" i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64726C3A-1E3E-D743-FF08-3F82023D66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7" name="Päivämäärän paikkamerkki 3">
            <a:extLst>
              <a:ext uri="{FF2B5EF4-FFF2-40B4-BE49-F238E27FC236}">
                <a16:creationId xmlns:a16="http://schemas.microsoft.com/office/drawing/2014/main" id="{19C32793-7033-FE20-D5EF-CC5489D3D2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9" name="Dian numeron paikkamerkki 5">
            <a:extLst>
              <a:ext uri="{FF2B5EF4-FFF2-40B4-BE49-F238E27FC236}">
                <a16:creationId xmlns:a16="http://schemas.microsoft.com/office/drawing/2014/main" id="{276B1348-4BC8-D0F1-F240-C5E60CA9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7C7E4EC3-7E14-75F8-EE4F-782BFCCE3C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8200" y="2324100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6661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44AEF072-2BF7-7089-FDA1-05B889CA7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02313"/>
            <a:ext cx="10515600" cy="598305"/>
          </a:xfrm>
        </p:spPr>
        <p:txBody>
          <a:bodyPr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10515600" cy="2581989"/>
          </a:xfrm>
        </p:spPr>
        <p:txBody>
          <a:bodyPr numCol="2" spcCol="36000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43BAF1F-ABA6-69E4-E9F7-B2A83981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0ACB3B25-5162-C692-1087-64C9BF7D1B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A582F648-2C0A-9AD5-005C-3698EF2B3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BBCD06D7-36BD-9B8D-CCFC-6CD14903B4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291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44AEF072-2BF7-7089-FDA1-05B889CA7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 spcCol="36000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Font typeface="Arial" panose="020B0604020202020204" pitchFamily="34" charset="0"/>
              <a:buNone/>
              <a:defRPr/>
            </a:lvl3pPr>
            <a:lvl4pPr marL="1371600" indent="0">
              <a:buFont typeface="Arial" panose="020B0604020202020204" pitchFamily="34" charset="0"/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43BAF1F-ABA6-69E4-E9F7-B2A839814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7" name="Päivämäärän paikkamerkki 3">
            <a:extLst>
              <a:ext uri="{FF2B5EF4-FFF2-40B4-BE49-F238E27FC236}">
                <a16:creationId xmlns:a16="http://schemas.microsoft.com/office/drawing/2014/main" id="{284A9954-002E-00D3-02CF-A3E85DC2E2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0" name="Dian numeron paikkamerkki 5">
            <a:extLst>
              <a:ext uri="{FF2B5EF4-FFF2-40B4-BE49-F238E27FC236}">
                <a16:creationId xmlns:a16="http://schemas.microsoft.com/office/drawing/2014/main" id="{EC6BE4FC-2691-D19B-1450-63435795E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0C184BA9-70D0-2B80-08BE-EBC25A7CAC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859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luettel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44AEF072-2BF7-7089-FDA1-05B889CA7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Alatunnisteen paikkamerkki 4">
            <a:extLst>
              <a:ext uri="{FF2B5EF4-FFF2-40B4-BE49-F238E27FC236}">
                <a16:creationId xmlns:a16="http://schemas.microsoft.com/office/drawing/2014/main" id="{5E68BD20-AD4F-FA56-D701-536F469EA7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0" name="Päivämäärän paikkamerkki 3">
            <a:extLst>
              <a:ext uri="{FF2B5EF4-FFF2-40B4-BE49-F238E27FC236}">
                <a16:creationId xmlns:a16="http://schemas.microsoft.com/office/drawing/2014/main" id="{0B8EB5A2-44B2-1172-970F-0E2498DF02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1" name="Dian numeron paikkamerkki 5">
            <a:extLst>
              <a:ext uri="{FF2B5EF4-FFF2-40B4-BE49-F238E27FC236}">
                <a16:creationId xmlns:a16="http://schemas.microsoft.com/office/drawing/2014/main" id="{D509AA86-95E2-DFFD-7A40-66D699C8A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8447E5F4-AA2A-CC40-E2E6-C2BC6DCCEF0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15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luettel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9788B26-5DD3-CC5F-5834-1DCAF33D9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7952582-AC7D-12CD-E689-2DE28E2A9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Alatunnisteen paikkamerkki 4">
            <a:extLst>
              <a:ext uri="{FF2B5EF4-FFF2-40B4-BE49-F238E27FC236}">
                <a16:creationId xmlns:a16="http://schemas.microsoft.com/office/drawing/2014/main" id="{08AC42AC-1097-77B5-B69F-8FA1E0497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0" name="Päivämäärän paikkamerkki 3">
            <a:extLst>
              <a:ext uri="{FF2B5EF4-FFF2-40B4-BE49-F238E27FC236}">
                <a16:creationId xmlns:a16="http://schemas.microsoft.com/office/drawing/2014/main" id="{3BD8DBD4-7DCD-D1E7-9300-38884463DB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1" name="Dian numeron paikkamerkki 5">
            <a:extLst>
              <a:ext uri="{FF2B5EF4-FFF2-40B4-BE49-F238E27FC236}">
                <a16:creationId xmlns:a16="http://schemas.microsoft.com/office/drawing/2014/main" id="{FDC0E753-3C33-83F6-F935-E1E8D55A5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A242C3E4-36E9-E44F-DF23-EC95826C2C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111537" y="291004"/>
            <a:ext cx="2811356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1792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 descr="Kuva, joka sisältää kohteen lääketieteellinen, Lääketieteelliset välineet, terveydenhuolto, Laboratoriotarvikkeet&#10;&#10;Kuvaus luotu automaattisesti">
            <a:extLst>
              <a:ext uri="{FF2B5EF4-FFF2-40B4-BE49-F238E27FC236}">
                <a16:creationId xmlns:a16="http://schemas.microsoft.com/office/drawing/2014/main" id="{9B2CA9FF-ABD8-2771-7214-5372DB8A2A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-1"/>
            <a:ext cx="5638800" cy="6858000"/>
          </a:xfrm>
          <a:prstGeom prst="rect">
            <a:avLst/>
          </a:prstGeom>
        </p:spPr>
      </p:pic>
      <p:pic>
        <p:nvPicPr>
          <p:cNvPr id="8" name="Kuva 7" descr="Kuva, joka sisältää kohteen Värikkyys, kuvakaappaus, luonto, valo&#10;&#10;Kuvaus luotu automaattisesti">
            <a:extLst>
              <a:ext uri="{FF2B5EF4-FFF2-40B4-BE49-F238E27FC236}">
                <a16:creationId xmlns:a16="http://schemas.microsoft.com/office/drawing/2014/main" id="{FC6242DA-5085-7C6F-604A-46218D23EF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tunnisteen paikkamerkki 4">
            <a:extLst>
              <a:ext uri="{FF2B5EF4-FFF2-40B4-BE49-F238E27FC236}">
                <a16:creationId xmlns:a16="http://schemas.microsoft.com/office/drawing/2014/main" id="{6021B098-EDC2-FD52-0AFE-4ADA7617B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6811576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9595286F-E8A1-5B09-3A37-76267B7F71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581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0FC3431-8CF5-B44B-99FA-CE6F8CD6F530}" type="datetimeFigureOut">
              <a:rPr lang="fi-FI"/>
              <a:t>12.8.2024</a:t>
            </a:fld>
            <a:endParaRPr lang="fi-FI"/>
          </a:p>
        </p:txBody>
      </p:sp>
      <p:sp>
        <p:nvSpPr>
          <p:cNvPr id="13" name="Dian numeron paikkamerkki 5">
            <a:extLst>
              <a:ext uri="{FF2B5EF4-FFF2-40B4-BE49-F238E27FC236}">
                <a16:creationId xmlns:a16="http://schemas.microsoft.com/office/drawing/2014/main" id="{E07CF5A1-826B-ED33-9B2B-8CD3B0653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9624" y="6356350"/>
            <a:ext cx="944176" cy="365125"/>
          </a:xfrm>
          <a:prstGeom prst="rect">
            <a:avLst/>
          </a:prstGeom>
        </p:spPr>
        <p:txBody>
          <a:bodyPr/>
          <a:lstStyle/>
          <a:p>
            <a:fld id="{FBE4C227-8B55-A04A-9B27-6C7962549D20}" type="slidenum">
              <a:rPr lang="fi-FI"/>
              <a:t>‹#›</a:t>
            </a:fld>
            <a:endParaRPr lang="fi-FI"/>
          </a:p>
        </p:txBody>
      </p:sp>
      <p:sp>
        <p:nvSpPr>
          <p:cNvPr id="3" name="Otsikko 1">
            <a:extLst>
              <a:ext uri="{FF2B5EF4-FFF2-40B4-BE49-F238E27FC236}">
                <a16:creationId xmlns:a16="http://schemas.microsoft.com/office/drawing/2014/main" id="{F848C0B0-C350-859B-354C-01589AD7A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3715"/>
            <a:ext cx="5257800" cy="1096903"/>
          </a:xfrm>
        </p:spPr>
        <p:txBody>
          <a:bodyPr wrap="square" anchor="b" anchorCtr="0">
            <a:spAutoFit/>
          </a:bodyPr>
          <a:lstStyle>
            <a:lvl1pPr>
              <a:defRPr sz="3600"/>
            </a:lvl1pPr>
          </a:lstStyle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5" name="Sisällön paikkamerkki 2">
            <a:extLst>
              <a:ext uri="{FF2B5EF4-FFF2-40B4-BE49-F238E27FC236}">
                <a16:creationId xmlns:a16="http://schemas.microsoft.com/office/drawing/2014/main" id="{E114B448-0BE3-5BDD-8A8C-69B4AB5FA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85590"/>
            <a:ext cx="5257800" cy="2581989"/>
          </a:xfrm>
        </p:spPr>
        <p:txBody>
          <a:bodyPr numCol="1"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  <a:lvl5pPr marL="2114550" indent="-28575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268254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46D0CE1B-C214-D83F-884E-A69407806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72520"/>
            <a:ext cx="10515600" cy="710772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E6B8B469-559F-5979-98EF-B14E6950C4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96643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2B2DDC3A-B5DB-C9BE-640E-B783F19C07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10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1"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0ACF87D-CAA0-8237-4E51-DD5976A58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1"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8FDF447-A9D9-EED4-8299-8A9DA5BC93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1"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23405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PP Neue Machina Inktrap Light" pitchFamily="2" charset="77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46D0CE1B-C214-D83F-884E-A69407806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72520"/>
            <a:ext cx="10515600" cy="710772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E6B8B469-559F-5979-98EF-B14E6950C4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96643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2B2DDC3A-B5DB-C9BE-640E-B783F19C07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10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1"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0ACF87D-CAA0-8237-4E51-DD5976A58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1"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8FDF447-A9D9-EED4-8299-8A9DA5BC93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1"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600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PP Neue Machina Inktrap Light" pitchFamily="2" charset="77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46D0CE1B-C214-D83F-884E-A69407806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72520"/>
            <a:ext cx="10515600" cy="710772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E6B8B469-559F-5979-98EF-B14E6950C4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96643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2B2DDC3A-B5DB-C9BE-640E-B783F19C07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10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1">
                <a:solidFill>
                  <a:schemeClr val="accent3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0ACF87D-CAA0-8237-4E51-DD5976A58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1">
                <a:solidFill>
                  <a:schemeClr val="accent3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8FDF447-A9D9-EED4-8299-8A9DA5BC93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1">
                <a:solidFill>
                  <a:schemeClr val="accent3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27665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46D0CE1B-C214-D83F-884E-A69407806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72520"/>
            <a:ext cx="10515600" cy="710772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fi-FI"/>
              <a:t>Muokkaa ots. perustyyl. napsautt.</a:t>
            </a:r>
            <a:endParaRPr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E6B8B469-559F-5979-98EF-B14E6950C4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96643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2B2DDC3A-B5DB-C9BE-640E-B783F19C07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10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1">
                <a:solidFill>
                  <a:schemeClr val="tx1"/>
                </a:solidFill>
              </a:defRPr>
            </a:lvl1pPr>
          </a:lstStyle>
          <a:p>
            <a:fld id="{70FC3431-8CF5-B44B-99FA-CE6F8CD6F530}" type="datetimeFigureOut">
              <a:rPr lang="fi-FI"/>
              <a:pPr/>
              <a:t>12.8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0ACF87D-CAA0-8237-4E51-DD5976A58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1">
                <a:solidFill>
                  <a:schemeClr val="tx1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8FDF447-A9D9-EED4-8299-8A9DA5BC93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1">
                <a:solidFill>
                  <a:schemeClr val="tx1"/>
                </a:solidFill>
              </a:defRPr>
            </a:lvl1pPr>
          </a:lstStyle>
          <a:p>
            <a:fld id="{FBE4C227-8B55-A04A-9B27-6C7962549D20}" type="slidenum">
              <a:rPr lang="fi-FI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85156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ts val="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9.svg"/><Relationship Id="rId9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6.emf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otsikko 2">
            <a:extLst>
              <a:ext uri="{FF2B5EF4-FFF2-40B4-BE49-F238E27FC236}">
                <a16:creationId xmlns:a16="http://schemas.microsoft.com/office/drawing/2014/main" id="{640436F5-C625-0A37-5260-39A8F1B2B0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473" y="5235036"/>
            <a:ext cx="9868151" cy="818173"/>
          </a:xfrm>
        </p:spPr>
        <p:txBody>
          <a:bodyPr/>
          <a:lstStyle/>
          <a:p>
            <a:r>
              <a:rPr lang="en-GB" dirty="0"/>
              <a:t>Maarit Merla, CEO</a:t>
            </a:r>
          </a:p>
          <a:p>
            <a:r>
              <a:rPr lang="en-GB" dirty="0"/>
              <a:t>August 13</a:t>
            </a:r>
            <a:r>
              <a:rPr lang="en-GB" baseline="30000" dirty="0"/>
              <a:t>th</a:t>
            </a:r>
            <a:r>
              <a:rPr lang="en-GB" dirty="0"/>
              <a:t>, 2024</a:t>
            </a:r>
            <a:endParaRPr lang="fi-FI" dirty="0"/>
          </a:p>
        </p:txBody>
      </p:sp>
      <p:sp>
        <p:nvSpPr>
          <p:cNvPr id="4" name="Otsikko 1">
            <a:extLst>
              <a:ext uri="{FF2B5EF4-FFF2-40B4-BE49-F238E27FC236}">
                <a16:creationId xmlns:a16="http://schemas.microsoft.com/office/drawing/2014/main" id="{9EC26CD9-1E92-0D52-FE23-BDA282C26279}"/>
              </a:ext>
            </a:extLst>
          </p:cNvPr>
          <p:cNvSpPr txBox="1">
            <a:spLocks/>
          </p:cNvSpPr>
          <p:nvPr/>
        </p:nvSpPr>
        <p:spPr>
          <a:xfrm>
            <a:off x="541473" y="3908895"/>
            <a:ext cx="10982894" cy="120032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000" dirty="0">
                <a:solidFill>
                  <a:schemeClr val="accent2"/>
                </a:solidFill>
              </a:rPr>
              <a:t>Finnish Drug Discovery Center - part of the drug development ecosystem in Finland</a:t>
            </a:r>
          </a:p>
        </p:txBody>
      </p:sp>
    </p:spTree>
    <p:extLst>
      <p:ext uri="{BB962C8B-B14F-4D97-AF65-F5344CB8AC3E}">
        <p14:creationId xmlns:p14="http://schemas.microsoft.com/office/powerpoint/2010/main" val="2595544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6124A63-E32E-7511-6AE7-C1B9404229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2768888"/>
              </p:ext>
            </p:extLst>
          </p:nvPr>
        </p:nvGraphicFramePr>
        <p:xfrm>
          <a:off x="644056" y="1964797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Otsikko 1">
            <a:extLst>
              <a:ext uri="{FF2B5EF4-FFF2-40B4-BE49-F238E27FC236}">
                <a16:creationId xmlns:a16="http://schemas.microsoft.com/office/drawing/2014/main" id="{98C612B4-4F09-684A-6D0B-FF5850E48F2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2639" y="1243683"/>
            <a:ext cx="9035143" cy="5909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Off val="-7098"/>
                  </a:schemeClr>
                </a:solidFill>
              </a:defRPr>
            </a:lvl1pPr>
          </a:lstStyle>
          <a:p>
            <a:r>
              <a:rPr lang="fi-FI" dirty="0" err="1">
                <a:latin typeface="+mn-lt"/>
              </a:rPr>
              <a:t>Goals</a:t>
            </a:r>
            <a:r>
              <a:rPr lang="fi-FI" dirty="0">
                <a:latin typeface="+mn-lt"/>
              </a:rPr>
              <a:t> for 2024</a:t>
            </a:r>
          </a:p>
        </p:txBody>
      </p:sp>
    </p:spTree>
    <p:extLst>
      <p:ext uri="{BB962C8B-B14F-4D97-AF65-F5344CB8AC3E}">
        <p14:creationId xmlns:p14="http://schemas.microsoft.com/office/powerpoint/2010/main" val="42304223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DB295499-3265-4623-DCC6-4C2A9A4C6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880" y="983533"/>
            <a:ext cx="5257800" cy="535531"/>
          </a:xfrm>
        </p:spPr>
        <p:txBody>
          <a:bodyPr anchor="t"/>
          <a:lstStyle/>
          <a:p>
            <a:r>
              <a:rPr lang="en-GB" sz="3200" dirty="0">
                <a:latin typeface="+mj-lt"/>
              </a:rPr>
              <a:t>Team recruiting plans</a:t>
            </a:r>
            <a:endParaRPr lang="fi-FI" sz="3200" dirty="0">
              <a:latin typeface="+mj-lt"/>
            </a:endParaRP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A9545280-5A3D-5DE9-3591-E65D60F81C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3880" y="1902778"/>
            <a:ext cx="5629102" cy="4115637"/>
          </a:xfrm>
          <a:noFill/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Company success requires experienced team of experts in early drug development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Recruiting up to 10 experts during 2024-2025:</a:t>
            </a:r>
          </a:p>
          <a:p>
            <a:pPr lvl="1">
              <a:lnSpc>
                <a:spcPct val="100000"/>
              </a:lnSpc>
            </a:pPr>
            <a:r>
              <a:rPr lang="en-GB" sz="1800" dirty="0"/>
              <a:t>Medicinal chemistry</a:t>
            </a:r>
          </a:p>
          <a:p>
            <a:pPr lvl="1">
              <a:lnSpc>
                <a:spcPct val="100000"/>
              </a:lnSpc>
            </a:pPr>
            <a:r>
              <a:rPr lang="en-GB" sz="1800" dirty="0"/>
              <a:t>Pharmacology</a:t>
            </a:r>
          </a:p>
          <a:p>
            <a:pPr lvl="1">
              <a:lnSpc>
                <a:spcPct val="100000"/>
              </a:lnSpc>
            </a:pPr>
            <a:r>
              <a:rPr lang="en-GB" sz="1800" dirty="0"/>
              <a:t>Nonclinical development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Business Development and financing </a:t>
            </a:r>
          </a:p>
          <a:p>
            <a:pPr>
              <a:lnSpc>
                <a:spcPct val="100000"/>
              </a:lnSpc>
            </a:pPr>
            <a:r>
              <a:rPr lang="en-GB" sz="1800" dirty="0"/>
              <a:t>Pekka Kallio, Ph.D., Associate Professor, appointed Chief Scientific Officer, August 1</a:t>
            </a:r>
            <a:r>
              <a:rPr lang="en-GB" sz="1800" baseline="30000" dirty="0"/>
              <a:t>st</a:t>
            </a:r>
            <a:r>
              <a:rPr lang="en-GB" sz="1800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10687956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914FBAF-54B2-444D-41B3-3ECB19EAB7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474" y="2601061"/>
            <a:ext cx="10913926" cy="2031325"/>
          </a:xfrm>
        </p:spPr>
        <p:txBody>
          <a:bodyPr/>
          <a:lstStyle/>
          <a:p>
            <a:pPr algn="ctr"/>
            <a:r>
              <a:rPr lang="en-GB" sz="2800" i="1" dirty="0">
                <a:latin typeface="+mn-lt"/>
              </a:rPr>
              <a:t>Mission:</a:t>
            </a:r>
            <a:br>
              <a:rPr lang="en-GB" sz="2800" i="1" dirty="0">
                <a:latin typeface="+mn-lt"/>
              </a:rPr>
            </a:br>
            <a:r>
              <a:rPr lang="en-GB" sz="2800" i="1" dirty="0">
                <a:latin typeface="+mn-lt"/>
              </a:rPr>
              <a:t>We are a valued partner of the research community </a:t>
            </a:r>
            <a:br>
              <a:rPr lang="en-GB" sz="2800" i="1" dirty="0">
                <a:latin typeface="+mn-lt"/>
              </a:rPr>
            </a:br>
            <a:r>
              <a:rPr lang="en-GB" sz="2800" i="1" dirty="0">
                <a:latin typeface="+mn-lt"/>
              </a:rPr>
              <a:t>in developing innovative drug compounds </a:t>
            </a:r>
            <a:br>
              <a:rPr lang="en-GB" sz="2800" i="1" dirty="0">
                <a:latin typeface="+mn-lt"/>
              </a:rPr>
            </a:br>
            <a:r>
              <a:rPr lang="en-GB" sz="2800" i="1" dirty="0">
                <a:latin typeface="+mn-lt"/>
              </a:rPr>
              <a:t>on </a:t>
            </a:r>
            <a:r>
              <a:rPr lang="en-GB" sz="2800" i="1">
                <a:latin typeface="+mn-lt"/>
              </a:rPr>
              <a:t>their path to </a:t>
            </a:r>
            <a:r>
              <a:rPr lang="en-GB" sz="2800" i="1" dirty="0">
                <a:latin typeface="+mn-lt"/>
              </a:rPr>
              <a:t>international success </a:t>
            </a:r>
            <a:br>
              <a:rPr lang="en-GB" sz="2800" i="1" dirty="0">
                <a:latin typeface="+mn-lt"/>
              </a:rPr>
            </a:br>
            <a:endParaRPr lang="fi-FI" sz="2800" i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96851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otsikko 1">
            <a:extLst>
              <a:ext uri="{FF2B5EF4-FFF2-40B4-BE49-F238E27FC236}">
                <a16:creationId xmlns:a16="http://schemas.microsoft.com/office/drawing/2014/main" id="{D432D009-7059-D80E-AC9F-2DDE0326FD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1" y="3954276"/>
            <a:ext cx="5257800" cy="1254831"/>
          </a:xfrm>
        </p:spPr>
        <p:txBody>
          <a:bodyPr/>
          <a:lstStyle/>
          <a:p>
            <a:r>
              <a:rPr lang="fi-FI" dirty="0">
                <a:latin typeface="+mn-lt"/>
              </a:rPr>
              <a:t>Maarit Merla</a:t>
            </a:r>
          </a:p>
          <a:p>
            <a:r>
              <a:rPr lang="fi-FI" sz="1200" i="1" dirty="0">
                <a:latin typeface="+mn-lt"/>
              </a:rPr>
              <a:t>CEO</a:t>
            </a:r>
          </a:p>
          <a:p>
            <a:endParaRPr lang="fi-FI" sz="1200" dirty="0">
              <a:latin typeface="+mn-lt"/>
            </a:endParaRPr>
          </a:p>
          <a:p>
            <a:r>
              <a:rPr lang="fi-FI" sz="1200" dirty="0">
                <a:latin typeface="+mn-lt"/>
              </a:rPr>
              <a:t>+358 40 3108023</a:t>
            </a:r>
          </a:p>
          <a:p>
            <a:r>
              <a:rPr lang="fi-FI" sz="1200" dirty="0">
                <a:latin typeface="+mn-lt"/>
              </a:rPr>
              <a:t>maarit.merla@ddcenter.fi</a:t>
            </a:r>
            <a:endParaRPr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70473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4B9C796E-6B5C-97FB-4E26-5A919C846C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571" y="1255173"/>
            <a:ext cx="5773750" cy="4347653"/>
          </a:xfrm>
          <a:noFill/>
        </p:spPr>
        <p:txBody>
          <a:bodyPr numCol="1">
            <a:noAutofit/>
          </a:bodyPr>
          <a:lstStyle/>
          <a:p>
            <a:pPr marL="285750" indent="-285750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Finnish Drug Discovery Center Ltd is a company with special assignment. The company purpose is to promote competitive drug development and overall commercial success of Finland in this sector.</a:t>
            </a:r>
          </a:p>
          <a:p>
            <a:pPr marL="285750" indent="-285750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FDDC is fully state-owned and belongs to the administrative branch of the Ministry of Economic Affairs and Employment in Finland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800" dirty="0"/>
              <a:t>The company serves universities and research institutes, operators in drug research and companies in the sector across Finlan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8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800" dirty="0"/>
          </a:p>
          <a:p>
            <a:pPr>
              <a:lnSpc>
                <a:spcPct val="100000"/>
              </a:lnSpc>
            </a:pPr>
            <a:endParaRPr lang="fi-FI" sz="1800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07A007B3-C0BE-D85A-8F89-1A2A979DC13B}"/>
              </a:ext>
            </a:extLst>
          </p:cNvPr>
          <p:cNvSpPr txBox="1">
            <a:spLocks/>
          </p:cNvSpPr>
          <p:nvPr/>
        </p:nvSpPr>
        <p:spPr>
          <a:xfrm>
            <a:off x="502571" y="5121751"/>
            <a:ext cx="5773750" cy="1089529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800" b="1" i="1" dirty="0">
                <a:solidFill>
                  <a:schemeClr val="accent2"/>
                </a:solidFill>
                <a:latin typeface="+mn-lt"/>
              </a:rPr>
              <a:t>Mission</a:t>
            </a:r>
            <a:r>
              <a:rPr lang="en-GB" sz="1800" i="1" dirty="0">
                <a:solidFill>
                  <a:schemeClr val="accent2"/>
                </a:solidFill>
                <a:latin typeface="+mn-lt"/>
              </a:rPr>
              <a:t>:</a:t>
            </a:r>
            <a:br>
              <a:rPr lang="en-GB" sz="1800" i="1" dirty="0">
                <a:solidFill>
                  <a:schemeClr val="accent2"/>
                </a:solidFill>
                <a:latin typeface="+mn-lt"/>
              </a:rPr>
            </a:br>
            <a:r>
              <a:rPr lang="en-GB" sz="1800" i="1" dirty="0">
                <a:solidFill>
                  <a:schemeClr val="accent2"/>
                </a:solidFill>
                <a:latin typeface="+mn-lt"/>
              </a:rPr>
              <a:t>We are a valued partner of the research community </a:t>
            </a:r>
            <a:br>
              <a:rPr lang="en-GB" sz="1800" i="1" dirty="0">
                <a:solidFill>
                  <a:schemeClr val="accent2"/>
                </a:solidFill>
                <a:latin typeface="+mn-lt"/>
              </a:rPr>
            </a:br>
            <a:r>
              <a:rPr lang="en-GB" sz="1800" i="1" dirty="0">
                <a:solidFill>
                  <a:schemeClr val="accent2"/>
                </a:solidFill>
                <a:latin typeface="+mn-lt"/>
              </a:rPr>
              <a:t>in developing innovative drug compounds </a:t>
            </a:r>
            <a:br>
              <a:rPr lang="en-GB" sz="1800" i="1" dirty="0">
                <a:solidFill>
                  <a:schemeClr val="accent2"/>
                </a:solidFill>
                <a:latin typeface="+mn-lt"/>
              </a:rPr>
            </a:br>
            <a:r>
              <a:rPr lang="en-GB" sz="1800" i="1" dirty="0">
                <a:solidFill>
                  <a:schemeClr val="accent2"/>
                </a:solidFill>
                <a:latin typeface="+mn-lt"/>
              </a:rPr>
              <a:t>on their path to international success </a:t>
            </a:r>
            <a:endParaRPr lang="fi-FI" sz="1800" i="1" dirty="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EE45D58-17C8-4020-13B4-470C165E3F9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111" r="24421"/>
          <a:stretch/>
        </p:blipFill>
        <p:spPr>
          <a:xfrm>
            <a:off x="6578600" y="0"/>
            <a:ext cx="560209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9547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>
            <a:extLst>
              <a:ext uri="{FF2B5EF4-FFF2-40B4-BE49-F238E27FC236}">
                <a16:creationId xmlns:a16="http://schemas.microsoft.com/office/drawing/2014/main" id="{0393E26C-A2EB-2C38-0492-3EFBB1D24D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510" y="5075345"/>
            <a:ext cx="984202" cy="1011690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14F232C-35FD-9167-3FDE-7AB682FC05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540" r="22949"/>
          <a:stretch/>
        </p:blipFill>
        <p:spPr>
          <a:xfrm>
            <a:off x="6568900" y="0"/>
            <a:ext cx="5606472" cy="685800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A49D1006-AF12-6F07-6F3A-A53FB839EB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559" y="1453355"/>
            <a:ext cx="984202" cy="1011690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ED0EF0E-4223-2F2D-048B-F82A867354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559" y="2663548"/>
            <a:ext cx="984202" cy="1011690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Graphic 6" descr="Chemicals with solid fill">
            <a:extLst>
              <a:ext uri="{FF2B5EF4-FFF2-40B4-BE49-F238E27FC236}">
                <a16:creationId xmlns:a16="http://schemas.microsoft.com/office/drawing/2014/main" id="{7C75B0F6-F5B1-94F2-EFAD-0023F28EC8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7377" y="1586917"/>
            <a:ext cx="744566" cy="744566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1BFAEC2-1B62-092A-7E3F-7312CFAEB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559" y="3874843"/>
            <a:ext cx="984202" cy="1011690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7DAA2B-BF93-02D3-EA9D-BAF3FD620C5C}"/>
              </a:ext>
            </a:extLst>
          </p:cNvPr>
          <p:cNvSpPr txBox="1"/>
          <p:nvPr/>
        </p:nvSpPr>
        <p:spPr>
          <a:xfrm>
            <a:off x="2216185" y="1543701"/>
            <a:ext cx="3359654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600" b="1" dirty="0"/>
              <a:t>Focus of drug compounds</a:t>
            </a:r>
          </a:p>
          <a:p>
            <a:pPr algn="ctr"/>
            <a:r>
              <a:rPr lang="en-GB" sz="1600" dirty="0"/>
              <a:t>Small molecules and biological drugs across all therapeutic areas</a:t>
            </a:r>
            <a:endParaRPr lang="fi-FI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DF296B-510E-D6B7-143E-3797D9358C81}"/>
              </a:ext>
            </a:extLst>
          </p:cNvPr>
          <p:cNvSpPr txBox="1"/>
          <p:nvPr/>
        </p:nvSpPr>
        <p:spPr>
          <a:xfrm>
            <a:off x="2150177" y="2753894"/>
            <a:ext cx="349167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600" b="1" dirty="0"/>
              <a:t>Sources of drug targets and compounds</a:t>
            </a:r>
          </a:p>
          <a:p>
            <a:pPr algn="ctr"/>
            <a:r>
              <a:rPr lang="en-GB" sz="1600" b="1" dirty="0"/>
              <a:t> </a:t>
            </a:r>
            <a:r>
              <a:rPr lang="en-GB" sz="1600" dirty="0"/>
              <a:t>Medical universities and companies </a:t>
            </a:r>
          </a:p>
        </p:txBody>
      </p:sp>
      <p:pic>
        <p:nvPicPr>
          <p:cNvPr id="16" name="Graphic 15" descr="Business Growth outline">
            <a:extLst>
              <a:ext uri="{FF2B5EF4-FFF2-40B4-BE49-F238E27FC236}">
                <a16:creationId xmlns:a16="http://schemas.microsoft.com/office/drawing/2014/main" id="{8F3BF57C-C97D-EAB4-A40F-ECA12D7681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9319" y="4063655"/>
            <a:ext cx="665039" cy="665039"/>
          </a:xfrm>
          <a:prstGeom prst="rect">
            <a:avLst/>
          </a:prstGeom>
        </p:spPr>
      </p:pic>
      <p:pic>
        <p:nvPicPr>
          <p:cNvPr id="17" name="Graphic 16" descr="Bank outline">
            <a:extLst>
              <a:ext uri="{FF2B5EF4-FFF2-40B4-BE49-F238E27FC236}">
                <a16:creationId xmlns:a16="http://schemas.microsoft.com/office/drawing/2014/main" id="{93A368C8-20CE-51DF-7EBA-6D77431693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2659" y="2828899"/>
            <a:ext cx="654002" cy="65400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A6D7D3E-2B57-440F-B2FC-1E59F2BE916E}"/>
              </a:ext>
            </a:extLst>
          </p:cNvPr>
          <p:cNvSpPr txBox="1"/>
          <p:nvPr/>
        </p:nvSpPr>
        <p:spPr>
          <a:xfrm>
            <a:off x="2280968" y="3965189"/>
            <a:ext cx="3230083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600" b="1" dirty="0"/>
              <a:t>Resources</a:t>
            </a:r>
            <a:endParaRPr lang="en-GB" sz="1600" dirty="0"/>
          </a:p>
          <a:p>
            <a:pPr algn="ctr"/>
            <a:r>
              <a:rPr lang="en-GB" sz="1600" dirty="0"/>
              <a:t>Team: max 10 </a:t>
            </a:r>
          </a:p>
          <a:p>
            <a:pPr algn="ctr"/>
            <a:r>
              <a:rPr lang="en-GB" sz="1600" dirty="0"/>
              <a:t>Capital Investment: €20M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54E7BC0-E7EA-C028-7E1B-BF57876C3A43}"/>
              </a:ext>
            </a:extLst>
          </p:cNvPr>
          <p:cNvSpPr txBox="1"/>
          <p:nvPr/>
        </p:nvSpPr>
        <p:spPr>
          <a:xfrm>
            <a:off x="1954823" y="5150233"/>
            <a:ext cx="3882371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600" b="1" dirty="0"/>
              <a:t>Office location</a:t>
            </a:r>
          </a:p>
          <a:p>
            <a:pPr algn="ctr"/>
            <a:r>
              <a:rPr lang="en-GB" sz="1600" dirty="0" err="1"/>
              <a:t>Lemminkäisenkatu</a:t>
            </a:r>
            <a:r>
              <a:rPr lang="en-GB" sz="1600" dirty="0"/>
              <a:t> 14 A</a:t>
            </a:r>
          </a:p>
          <a:p>
            <a:pPr algn="ctr"/>
            <a:r>
              <a:rPr lang="en-GB" sz="1600" dirty="0"/>
              <a:t>Turku, Finland</a:t>
            </a:r>
          </a:p>
        </p:txBody>
      </p:sp>
      <p:pic>
        <p:nvPicPr>
          <p:cNvPr id="3" name="Graphic 2" descr="Route (Two Pins With A Path) with solid fill">
            <a:extLst>
              <a:ext uri="{FF2B5EF4-FFF2-40B4-BE49-F238E27FC236}">
                <a16:creationId xmlns:a16="http://schemas.microsoft.com/office/drawing/2014/main" id="{B0242716-7513-AF1C-1210-C6D8D03C3FF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9319" y="5272455"/>
            <a:ext cx="576585" cy="57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7285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EA539-D790-9988-BE92-8F24D3599C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434" y="1048625"/>
            <a:ext cx="5257800" cy="535531"/>
          </a:xfrm>
        </p:spPr>
        <p:txBody>
          <a:bodyPr/>
          <a:lstStyle/>
          <a:p>
            <a:r>
              <a:rPr lang="en-GB" sz="3200" dirty="0">
                <a:latin typeface="+mj-lt"/>
              </a:rPr>
              <a:t>Board of Directors:</a:t>
            </a:r>
            <a:endParaRPr lang="fi-FI" sz="3200" dirty="0">
              <a:latin typeface="+mj-lt"/>
            </a:endParaRP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84DC4FB7-B0C3-D6E8-9520-0EEC79FB99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6214765"/>
              </p:ext>
            </p:extLst>
          </p:nvPr>
        </p:nvGraphicFramePr>
        <p:xfrm>
          <a:off x="206434" y="2011678"/>
          <a:ext cx="11855334" cy="39306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56706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54A2114-3C27-770D-0CF4-D768A31E52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21" y="992988"/>
            <a:ext cx="5678979" cy="1089529"/>
          </a:xfrm>
        </p:spPr>
        <p:txBody>
          <a:bodyPr anchor="t"/>
          <a:lstStyle/>
          <a:p>
            <a:r>
              <a:rPr lang="en-GB" dirty="0"/>
              <a:t>Advancing drug target and compound discovery</a:t>
            </a:r>
            <a:endParaRPr lang="fi-FI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C4F1A4C-8A8F-FABB-5666-B8C853DF89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7021" y="2190584"/>
            <a:ext cx="5958841" cy="4308872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We help identify and evaluate promising drug compounds, from target identification and first molecule screening stage onward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We steer and consult on planning the development phases of the drug compounds selected for the portfolio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Our experienced team has expertise in medicinal chemistry, pharmacology, toxicology, regulatory requirements and preclinical planning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We drive the development of drug molecules through to the end of the preclinical research stage</a:t>
            </a:r>
          </a:p>
          <a:p>
            <a:pPr>
              <a:lnSpc>
                <a:spcPct val="100000"/>
              </a:lnSpc>
            </a:pPr>
            <a:r>
              <a:rPr lang="en-GB" sz="1800" dirty="0"/>
              <a:t>We also help our partners in selecting suppliers and establishing supply chains</a:t>
            </a:r>
            <a:endParaRPr lang="fi-FI" sz="1800" dirty="0"/>
          </a:p>
        </p:txBody>
      </p:sp>
    </p:spTree>
    <p:extLst>
      <p:ext uri="{BB962C8B-B14F-4D97-AF65-F5344CB8AC3E}">
        <p14:creationId xmlns:p14="http://schemas.microsoft.com/office/powerpoint/2010/main" val="39606369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907CC47-9A0C-D2A1-7228-7C75A4441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751" y="1067811"/>
            <a:ext cx="5257800" cy="590931"/>
          </a:xfrm>
        </p:spPr>
        <p:txBody>
          <a:bodyPr/>
          <a:lstStyle/>
          <a:p>
            <a:r>
              <a:rPr lang="en-GB" dirty="0"/>
              <a:t>Building strong networks</a:t>
            </a:r>
            <a:endParaRPr lang="fi-FI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F4D844B-6A70-891A-9AEC-BA937DFA20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751" y="1866304"/>
            <a:ext cx="5920049" cy="415498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Finding the right partners and creating networks as early as possible are both crucial to the success of the drug development process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We help establish connections with international investors and expand the network of stakeholders operating in the drug development sector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We help build a channel to international financing and commercial success, and expand cooperation networks both within the drug development supply chain and with selected stakeholders</a:t>
            </a:r>
          </a:p>
          <a:p>
            <a:pPr>
              <a:lnSpc>
                <a:spcPct val="100000"/>
              </a:lnSpc>
            </a:pPr>
            <a:r>
              <a:rPr lang="en-GB" sz="1800" dirty="0"/>
              <a:t>Our work will increase the awareness and recognition of Finland’s drug development ecosystem</a:t>
            </a:r>
            <a:endParaRPr lang="fi-FI" sz="1800" dirty="0"/>
          </a:p>
        </p:txBody>
      </p:sp>
    </p:spTree>
    <p:extLst>
      <p:ext uri="{BB962C8B-B14F-4D97-AF65-F5344CB8AC3E}">
        <p14:creationId xmlns:p14="http://schemas.microsoft.com/office/powerpoint/2010/main" val="694321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B77B422-6D78-C40A-07A6-B84B7E615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1008176"/>
            <a:ext cx="5835535" cy="1089529"/>
          </a:xfrm>
        </p:spPr>
        <p:txBody>
          <a:bodyPr anchor="t"/>
          <a:lstStyle/>
          <a:p>
            <a:r>
              <a:rPr lang="en-GB" dirty="0"/>
              <a:t>Investing in drug discovery and development </a:t>
            </a:r>
            <a:endParaRPr lang="fi-FI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3801EC7-9DF8-8189-3FF1-1D80484A19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137" y="2336703"/>
            <a:ext cx="5519651" cy="3170099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As a limited liability company, our goals is profitable business, while simultaneously promoting the success of promising Finnish drug </a:t>
            </a:r>
            <a:r>
              <a:rPr lang="en-GB" sz="1800" dirty="0" err="1"/>
              <a:t>compouds</a:t>
            </a:r>
            <a:endParaRPr lang="en-GB" sz="1800" dirty="0"/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1800" dirty="0"/>
              <a:t>We can invest in companies and projects developing drug compounds, e.g. through capital investments, by licensing IP rights, by selling consulting services or by negotiating success-fee-based agreements</a:t>
            </a:r>
          </a:p>
          <a:p>
            <a:pPr>
              <a:lnSpc>
                <a:spcPct val="100000"/>
              </a:lnSpc>
            </a:pPr>
            <a:r>
              <a:rPr lang="en-GB" sz="1800" dirty="0"/>
              <a:t>The most suitable business model will be negotiated on a case-by-case basis</a:t>
            </a:r>
            <a:endParaRPr lang="fi-FI" sz="1800" dirty="0"/>
          </a:p>
        </p:txBody>
      </p:sp>
    </p:spTree>
    <p:extLst>
      <p:ext uri="{BB962C8B-B14F-4D97-AF65-F5344CB8AC3E}">
        <p14:creationId xmlns:p14="http://schemas.microsoft.com/office/powerpoint/2010/main" val="7875233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CDDB1-DAAD-5009-C98D-9F77A800E6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3486740-60B8-FB1F-AE62-CDAE93ACBC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486740-60B8-FB1F-AE62-CDAE93ACBC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1907B2-3070-1BEF-3ECD-BB823B228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824" y="490640"/>
            <a:ext cx="9059944" cy="1096903"/>
          </a:xfrm>
        </p:spPr>
        <p:txBody>
          <a:bodyPr vert="horz">
            <a:normAutofit/>
          </a:bodyPr>
          <a:lstStyle/>
          <a:p>
            <a:r>
              <a:rPr lang="fi-FI" sz="3200" dirty="0">
                <a:latin typeface="+mj-lt"/>
              </a:rPr>
              <a:t>Company position in </a:t>
            </a:r>
            <a:r>
              <a:rPr lang="fi-FI" sz="3200" dirty="0" err="1">
                <a:latin typeface="+mj-lt"/>
              </a:rPr>
              <a:t>drug</a:t>
            </a:r>
            <a:r>
              <a:rPr lang="fi-FI" sz="3200" dirty="0">
                <a:latin typeface="+mj-lt"/>
              </a:rPr>
              <a:t> </a:t>
            </a:r>
            <a:r>
              <a:rPr lang="fi-FI" sz="3200" dirty="0" err="1">
                <a:latin typeface="+mj-lt"/>
              </a:rPr>
              <a:t>development</a:t>
            </a:r>
            <a:r>
              <a:rPr lang="fi-FI" sz="3200" dirty="0">
                <a:latin typeface="+mj-lt"/>
              </a:rPr>
              <a:t> </a:t>
            </a:r>
            <a:br>
              <a:rPr lang="fi-FI" sz="3200" dirty="0">
                <a:latin typeface="+mj-lt"/>
              </a:rPr>
            </a:br>
            <a:r>
              <a:rPr lang="fi-FI" sz="2400" dirty="0">
                <a:latin typeface="+mj-lt"/>
              </a:rPr>
              <a:t>(</a:t>
            </a:r>
            <a:r>
              <a:rPr lang="fi-FI" sz="2400" dirty="0" err="1">
                <a:latin typeface="+mj-lt"/>
              </a:rPr>
              <a:t>small</a:t>
            </a:r>
            <a:r>
              <a:rPr lang="fi-FI" sz="2400" dirty="0">
                <a:latin typeface="+mj-lt"/>
              </a:rPr>
              <a:t> </a:t>
            </a:r>
            <a:r>
              <a:rPr lang="fi-FI" sz="2400" dirty="0" err="1">
                <a:latin typeface="+mj-lt"/>
              </a:rPr>
              <a:t>molecule</a:t>
            </a:r>
            <a:r>
              <a:rPr lang="fi-FI" sz="2400" dirty="0">
                <a:latin typeface="+mj-lt"/>
              </a:rPr>
              <a:t> </a:t>
            </a:r>
            <a:r>
              <a:rPr lang="fi-FI" sz="2400" dirty="0" err="1">
                <a:latin typeface="+mj-lt"/>
              </a:rPr>
              <a:t>example</a:t>
            </a:r>
            <a:r>
              <a:rPr lang="fi-FI" sz="2400" dirty="0">
                <a:latin typeface="+mj-lt"/>
              </a:rPr>
              <a:t>)</a:t>
            </a:r>
            <a:endParaRPr lang="fi-FI" sz="3200" dirty="0"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9D950F-6BB0-D584-8CD9-0253F18F9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FDFA3-7F83-4AFD-A283-2CBA595CE35A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09D770-DE4A-6D5E-9712-E98345ED49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186" y="2375093"/>
            <a:ext cx="10212865" cy="3460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044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D32B303-2CF4-2DD4-81D3-78D5E3352C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32B303-2CF4-2DD4-81D3-78D5E3352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734EC7-9960-7D53-5F11-47064B249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502" y="978881"/>
            <a:ext cx="10515600" cy="598305"/>
          </a:xfrm>
        </p:spPr>
        <p:txBody>
          <a:bodyPr>
            <a:normAutofit/>
          </a:bodyPr>
          <a:lstStyle/>
          <a:p>
            <a:r>
              <a:rPr lang="fi-FI" sz="3200" dirty="0">
                <a:solidFill>
                  <a:schemeClr val="tx2"/>
                </a:solidFill>
                <a:latin typeface="+mj-lt"/>
              </a:rPr>
              <a:t>Long </a:t>
            </a:r>
            <a:r>
              <a:rPr lang="fi-FI" sz="3200" dirty="0" err="1">
                <a:solidFill>
                  <a:schemeClr val="tx2"/>
                </a:solidFill>
                <a:latin typeface="+mj-lt"/>
              </a:rPr>
              <a:t>Term</a:t>
            </a:r>
            <a:r>
              <a:rPr lang="fi-FI" sz="3200" dirty="0">
                <a:solidFill>
                  <a:schemeClr val="tx2"/>
                </a:solidFill>
                <a:latin typeface="+mj-lt"/>
              </a:rPr>
              <a:t> Strategic </a:t>
            </a:r>
            <a:r>
              <a:rPr lang="fi-FI" sz="3200" dirty="0" err="1">
                <a:solidFill>
                  <a:schemeClr val="tx2"/>
                </a:solidFill>
                <a:latin typeface="+mj-lt"/>
              </a:rPr>
              <a:t>Goals</a:t>
            </a:r>
            <a:endParaRPr lang="fi-FI" sz="3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1E0CA0-6DC3-F865-D3DB-9F00BBAB9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FDFA3-7F83-4AFD-A283-2CBA595CE35A}" type="slidenum">
              <a:rPr lang="fi-FI" smtClean="0"/>
              <a:pPr/>
              <a:t>9</a:t>
            </a:fld>
            <a:endParaRPr lang="fi-FI" dirty="0"/>
          </a:p>
        </p:txBody>
      </p:sp>
      <p:sp>
        <p:nvSpPr>
          <p:cNvPr id="8" name="Oval 10">
            <a:extLst>
              <a:ext uri="{FF2B5EF4-FFF2-40B4-BE49-F238E27FC236}">
                <a16:creationId xmlns:a16="http://schemas.microsoft.com/office/drawing/2014/main" id="{0C9CCDE4-29EE-E1DD-3047-7B1C28959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5885" y="2352253"/>
            <a:ext cx="1491915" cy="148986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Oval 5">
            <a:extLst>
              <a:ext uri="{FF2B5EF4-FFF2-40B4-BE49-F238E27FC236}">
                <a16:creationId xmlns:a16="http://schemas.microsoft.com/office/drawing/2014/main" id="{B4290067-6F9F-72C7-F7A1-7BD634877A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5198" y="4352125"/>
            <a:ext cx="1491915" cy="1491915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13">
            <a:extLst>
              <a:ext uri="{FF2B5EF4-FFF2-40B4-BE49-F238E27FC236}">
                <a16:creationId xmlns:a16="http://schemas.microsoft.com/office/drawing/2014/main" id="{C461EAEE-7075-C1D4-72BA-5125E1135B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5198" y="2352253"/>
            <a:ext cx="1491915" cy="148986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Oval 19">
            <a:extLst>
              <a:ext uri="{FF2B5EF4-FFF2-40B4-BE49-F238E27FC236}">
                <a16:creationId xmlns:a16="http://schemas.microsoft.com/office/drawing/2014/main" id="{54EFF041-36F3-5A9F-2CD9-182A2FE20E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5882" y="4352125"/>
            <a:ext cx="1491914" cy="14919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4221155-1C82-9C86-ABA3-8442884440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66469" y="4733121"/>
            <a:ext cx="655758" cy="655758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904F15A-93B9-89B9-4FE1-A5B00980FCA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66469" y="2700090"/>
            <a:ext cx="760086" cy="76262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AB666EA-26EC-0E8A-34B1-8625219EE3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29695" y="2617434"/>
            <a:ext cx="844285" cy="84527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F0A3124-921E-49E6-46AF-C235BF0562F8}"/>
              </a:ext>
            </a:extLst>
          </p:cNvPr>
          <p:cNvSpPr txBox="1"/>
          <p:nvPr/>
        </p:nvSpPr>
        <p:spPr>
          <a:xfrm>
            <a:off x="8121610" y="2658561"/>
            <a:ext cx="33167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Company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investments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bring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significant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value</a:t>
            </a:r>
            <a:endParaRPr kumimoji="0" lang="fi-FI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327E353-41BC-AF6F-E29C-B50AF2516C85}"/>
              </a:ext>
            </a:extLst>
          </p:cNvPr>
          <p:cNvSpPr txBox="1"/>
          <p:nvPr/>
        </p:nvSpPr>
        <p:spPr>
          <a:xfrm>
            <a:off x="8121611" y="4557882"/>
            <a:ext cx="387365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The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company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and Finland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are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viewed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as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valued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partners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in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the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drug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discovery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sector</a:t>
            </a:r>
            <a:endParaRPr kumimoji="0" lang="fi-FI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50DC68E-6495-76C5-3B99-317E580D47D4}"/>
              </a:ext>
            </a:extLst>
          </p:cNvPr>
          <p:cNvSpPr txBox="1"/>
          <p:nvPr/>
        </p:nvSpPr>
        <p:spPr>
          <a:xfrm>
            <a:off x="447502" y="2663889"/>
            <a:ext cx="370831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i-FI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crease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d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number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of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commercialized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drug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compounds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originating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from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Finland</a:t>
            </a:r>
            <a:endParaRPr kumimoji="0" lang="fi-FI" sz="16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FCBAE2A-A6B3-205B-7C35-099A7326F9D9}"/>
              </a:ext>
            </a:extLst>
          </p:cNvPr>
          <p:cNvSpPr txBox="1"/>
          <p:nvPr/>
        </p:nvSpPr>
        <p:spPr>
          <a:xfrm>
            <a:off x="966832" y="4559160"/>
            <a:ext cx="3078202" cy="87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i-FI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mpany </a:t>
            </a:r>
            <a:r>
              <a:rPr kumimoji="0" lang="fi-FI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erat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ions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have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measurable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impact</a:t>
            </a:r>
            <a:r>
              <a:rPr lang="fi-FI" dirty="0">
                <a:solidFill>
                  <a:schemeClr val="tx2"/>
                </a:solidFill>
                <a:latin typeface="Arial" panose="020B0604020202020204" pitchFamily="34" charset="0"/>
              </a:rPr>
              <a:t> on </a:t>
            </a:r>
            <a:r>
              <a:rPr lang="fi-FI" dirty="0" err="1">
                <a:solidFill>
                  <a:schemeClr val="tx2"/>
                </a:solidFill>
                <a:latin typeface="Arial" panose="020B0604020202020204" pitchFamily="34" charset="0"/>
              </a:rPr>
              <a:t>society</a:t>
            </a:r>
            <a:endParaRPr kumimoji="0" lang="fi-FI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i-FI" sz="16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Freeform 73">
            <a:extLst>
              <a:ext uri="{FF2B5EF4-FFF2-40B4-BE49-F238E27FC236}">
                <a16:creationId xmlns:a16="http://schemas.microsoft.com/office/drawing/2014/main" id="{2906C59A-2DC7-A013-EE30-12B86C7577B6}"/>
              </a:ext>
            </a:extLst>
          </p:cNvPr>
          <p:cNvSpPr>
            <a:spLocks/>
          </p:cNvSpPr>
          <p:nvPr/>
        </p:nvSpPr>
        <p:spPr bwMode="auto">
          <a:xfrm>
            <a:off x="6727838" y="4774082"/>
            <a:ext cx="648000" cy="648000"/>
          </a:xfrm>
          <a:custGeom>
            <a:avLst/>
            <a:gdLst>
              <a:gd name="T0" fmla="*/ 326 w 1010"/>
              <a:gd name="T1" fmla="*/ 119 h 1082"/>
              <a:gd name="T2" fmla="*/ 249 w 1010"/>
              <a:gd name="T3" fmla="*/ 163 h 1082"/>
              <a:gd name="T4" fmla="*/ 92 w 1010"/>
              <a:gd name="T5" fmla="*/ 665 h 1082"/>
              <a:gd name="T6" fmla="*/ 116 w 1010"/>
              <a:gd name="T7" fmla="*/ 699 h 1082"/>
              <a:gd name="T8" fmla="*/ 340 w 1010"/>
              <a:gd name="T9" fmla="*/ 329 h 1082"/>
              <a:gd name="T10" fmla="*/ 384 w 1010"/>
              <a:gd name="T11" fmla="*/ 373 h 1082"/>
              <a:gd name="T12" fmla="*/ 167 w 1010"/>
              <a:gd name="T13" fmla="*/ 748 h 1082"/>
              <a:gd name="T14" fmla="*/ 187 w 1010"/>
              <a:gd name="T15" fmla="*/ 1082 h 1082"/>
              <a:gd name="T16" fmla="*/ 256 w 1010"/>
              <a:gd name="T17" fmla="*/ 1082 h 1082"/>
              <a:gd name="T18" fmla="*/ 223 w 1010"/>
              <a:gd name="T19" fmla="*/ 783 h 1082"/>
              <a:gd name="T20" fmla="*/ 645 w 1010"/>
              <a:gd name="T21" fmla="*/ 759 h 1082"/>
              <a:gd name="T22" fmla="*/ 864 w 1010"/>
              <a:gd name="T23" fmla="*/ 311 h 1082"/>
              <a:gd name="T24" fmla="*/ 976 w 1010"/>
              <a:gd name="T25" fmla="*/ 158 h 1082"/>
              <a:gd name="T26" fmla="*/ 1010 w 1010"/>
              <a:gd name="T27" fmla="*/ 144 h 1082"/>
              <a:gd name="T28" fmla="*/ 326 w 1010"/>
              <a:gd name="T29" fmla="*/ 119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10" h="1082">
                <a:moveTo>
                  <a:pt x="326" y="119"/>
                </a:moveTo>
                <a:cubicBezTo>
                  <a:pt x="313" y="125"/>
                  <a:pt x="262" y="155"/>
                  <a:pt x="249" y="163"/>
                </a:cubicBezTo>
                <a:cubicBezTo>
                  <a:pt x="70" y="288"/>
                  <a:pt x="0" y="504"/>
                  <a:pt x="92" y="665"/>
                </a:cubicBezTo>
                <a:cubicBezTo>
                  <a:pt x="99" y="677"/>
                  <a:pt x="107" y="688"/>
                  <a:pt x="116" y="699"/>
                </a:cubicBezTo>
                <a:cubicBezTo>
                  <a:pt x="154" y="569"/>
                  <a:pt x="230" y="440"/>
                  <a:pt x="340" y="329"/>
                </a:cubicBezTo>
                <a:cubicBezTo>
                  <a:pt x="384" y="373"/>
                  <a:pt x="384" y="373"/>
                  <a:pt x="384" y="373"/>
                </a:cubicBezTo>
                <a:cubicBezTo>
                  <a:pt x="272" y="486"/>
                  <a:pt x="199" y="618"/>
                  <a:pt x="167" y="748"/>
                </a:cubicBezTo>
                <a:cubicBezTo>
                  <a:pt x="138" y="867"/>
                  <a:pt x="143" y="984"/>
                  <a:pt x="187" y="1082"/>
                </a:cubicBezTo>
                <a:cubicBezTo>
                  <a:pt x="256" y="1082"/>
                  <a:pt x="256" y="1082"/>
                  <a:pt x="256" y="1082"/>
                </a:cubicBezTo>
                <a:cubicBezTo>
                  <a:pt x="210" y="997"/>
                  <a:pt x="200" y="892"/>
                  <a:pt x="223" y="783"/>
                </a:cubicBezTo>
                <a:cubicBezTo>
                  <a:pt x="349" y="846"/>
                  <a:pt x="522" y="841"/>
                  <a:pt x="645" y="759"/>
                </a:cubicBezTo>
                <a:cubicBezTo>
                  <a:pt x="840" y="627"/>
                  <a:pt x="843" y="395"/>
                  <a:pt x="864" y="311"/>
                </a:cubicBezTo>
                <a:cubicBezTo>
                  <a:pt x="885" y="227"/>
                  <a:pt x="923" y="189"/>
                  <a:pt x="976" y="158"/>
                </a:cubicBezTo>
                <a:cubicBezTo>
                  <a:pt x="987" y="152"/>
                  <a:pt x="998" y="148"/>
                  <a:pt x="1010" y="144"/>
                </a:cubicBezTo>
                <a:cubicBezTo>
                  <a:pt x="839" y="13"/>
                  <a:pt x="562" y="0"/>
                  <a:pt x="326" y="11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1932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LKK-teema 2">
  <a:themeElements>
    <a:clrScheme name="KLKK">
      <a:dk1>
        <a:srgbClr val="302038"/>
      </a:dk1>
      <a:lt1>
        <a:srgbClr val="FFFFFF"/>
      </a:lt1>
      <a:dk2>
        <a:srgbClr val="000000"/>
      </a:dk2>
      <a:lt2>
        <a:srgbClr val="C5DCE2"/>
      </a:lt2>
      <a:accent1>
        <a:srgbClr val="302038"/>
      </a:accent1>
      <a:accent2>
        <a:srgbClr val="68388E"/>
      </a:accent2>
      <a:accent3>
        <a:srgbClr val="00CCD1"/>
      </a:accent3>
      <a:accent4>
        <a:srgbClr val="DDB1E3"/>
      </a:accent4>
      <a:accent5>
        <a:srgbClr val="969DE3"/>
      </a:accent5>
      <a:accent6>
        <a:srgbClr val="C5DCE2"/>
      </a:accent6>
      <a:hlink>
        <a:srgbClr val="00CCD1"/>
      </a:hlink>
      <a:folHlink>
        <a:srgbClr val="00CCD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KLKK-teema 2">
  <a:themeElements>
    <a:clrScheme name="KLKK">
      <a:dk1>
        <a:srgbClr val="302038"/>
      </a:dk1>
      <a:lt1>
        <a:srgbClr val="FFFFFF"/>
      </a:lt1>
      <a:dk2>
        <a:srgbClr val="000000"/>
      </a:dk2>
      <a:lt2>
        <a:srgbClr val="C5DCE2"/>
      </a:lt2>
      <a:accent1>
        <a:srgbClr val="302038"/>
      </a:accent1>
      <a:accent2>
        <a:srgbClr val="68388E"/>
      </a:accent2>
      <a:accent3>
        <a:srgbClr val="00CCD1"/>
      </a:accent3>
      <a:accent4>
        <a:srgbClr val="DDB1E3"/>
      </a:accent4>
      <a:accent5>
        <a:srgbClr val="969DE3"/>
      </a:accent5>
      <a:accent6>
        <a:srgbClr val="C5DCE2"/>
      </a:accent6>
      <a:hlink>
        <a:srgbClr val="00CCD1"/>
      </a:hlink>
      <a:folHlink>
        <a:srgbClr val="00CCD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KLKK-teema 1">
  <a:themeElements>
    <a:clrScheme name="KLKK">
      <a:dk1>
        <a:srgbClr val="302038"/>
      </a:dk1>
      <a:lt1>
        <a:srgbClr val="FFFFFF"/>
      </a:lt1>
      <a:dk2>
        <a:srgbClr val="000000"/>
      </a:dk2>
      <a:lt2>
        <a:srgbClr val="C5DCE2"/>
      </a:lt2>
      <a:accent1>
        <a:srgbClr val="302038"/>
      </a:accent1>
      <a:accent2>
        <a:srgbClr val="68388E"/>
      </a:accent2>
      <a:accent3>
        <a:srgbClr val="00CCD1"/>
      </a:accent3>
      <a:accent4>
        <a:srgbClr val="DDB1E3"/>
      </a:accent4>
      <a:accent5>
        <a:srgbClr val="969DE3"/>
      </a:accent5>
      <a:accent6>
        <a:srgbClr val="C5DCE2"/>
      </a:accent6>
      <a:hlink>
        <a:srgbClr val="00CCD1"/>
      </a:hlink>
      <a:folHlink>
        <a:srgbClr val="00CCD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FDCC_Arial" id="{683F41A4-ED40-334B-8DE8-D3A7A9A08F03}" vid="{BC540D44-DC79-0C46-B531-78757F8D6D65}"/>
    </a:ext>
  </a:extLst>
</a:theme>
</file>

<file path=ppt/theme/theme4.xml><?xml version="1.0" encoding="utf-8"?>
<a:theme xmlns:a="http://schemas.openxmlformats.org/drawingml/2006/main" name="2_KLKK-teema 2">
  <a:themeElements>
    <a:clrScheme name="KLKK">
      <a:dk1>
        <a:srgbClr val="302038"/>
      </a:dk1>
      <a:lt1>
        <a:srgbClr val="FFFFFF"/>
      </a:lt1>
      <a:dk2>
        <a:srgbClr val="000000"/>
      </a:dk2>
      <a:lt2>
        <a:srgbClr val="C5DCE2"/>
      </a:lt2>
      <a:accent1>
        <a:srgbClr val="302038"/>
      </a:accent1>
      <a:accent2>
        <a:srgbClr val="68388E"/>
      </a:accent2>
      <a:accent3>
        <a:srgbClr val="00CCD1"/>
      </a:accent3>
      <a:accent4>
        <a:srgbClr val="DDB1E3"/>
      </a:accent4>
      <a:accent5>
        <a:srgbClr val="969DE3"/>
      </a:accent5>
      <a:accent6>
        <a:srgbClr val="C5DCE2"/>
      </a:accent6>
      <a:hlink>
        <a:srgbClr val="00CCD1"/>
      </a:hlink>
      <a:folHlink>
        <a:srgbClr val="00CCD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FDCC_Arial" id="{683F41A4-ED40-334B-8DE8-D3A7A9A08F03}" vid="{DE57B59C-89E6-7946-AA42-D9E4AC60D4DC}"/>
    </a:ext>
  </a:extLst>
</a:theme>
</file>

<file path=ppt/theme/theme5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5</TotalTime>
  <Words>695</Words>
  <Application>Microsoft Office PowerPoint</Application>
  <PresentationFormat>Widescreen</PresentationFormat>
  <Paragraphs>71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PP Neue Machina Plain</vt:lpstr>
      <vt:lpstr>PP Neue Machina Inktrap Light</vt:lpstr>
      <vt:lpstr>Arial</vt:lpstr>
      <vt:lpstr>PP Neue Machina Inktrap</vt:lpstr>
      <vt:lpstr>Arial Nova Cond</vt:lpstr>
      <vt:lpstr>Aptos</vt:lpstr>
      <vt:lpstr>KLKK-teema 2</vt:lpstr>
      <vt:lpstr>1_KLKK-teema 2</vt:lpstr>
      <vt:lpstr>1_KLKK-teema 1</vt:lpstr>
      <vt:lpstr>2_KLKK-teema 2</vt:lpstr>
      <vt:lpstr>think-cell Slide</vt:lpstr>
      <vt:lpstr>PowerPoint Presentation</vt:lpstr>
      <vt:lpstr>PowerPoint Presentation</vt:lpstr>
      <vt:lpstr>PowerPoint Presentation</vt:lpstr>
      <vt:lpstr>Board of Directors:</vt:lpstr>
      <vt:lpstr>Advancing drug target and compound discovery</vt:lpstr>
      <vt:lpstr>Building strong networks</vt:lpstr>
      <vt:lpstr>Investing in drug discovery and development </vt:lpstr>
      <vt:lpstr>Company position in drug development  (small molecule example)</vt:lpstr>
      <vt:lpstr>Long Term Strategic Goals</vt:lpstr>
      <vt:lpstr>Goals for 2024</vt:lpstr>
      <vt:lpstr>Team recruiting plans</vt:lpstr>
      <vt:lpstr>Mission: We are a valued partner of the research community  in developing innovative drug compounds  on their path to international success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ikko Koistinen</dc:creator>
  <cp:lastModifiedBy>Maarit Merla</cp:lastModifiedBy>
  <cp:revision>33</cp:revision>
  <dcterms:created xsi:type="dcterms:W3CDTF">2024-02-29T07:23:53Z</dcterms:created>
  <dcterms:modified xsi:type="dcterms:W3CDTF">2024-08-12T09:11:31Z</dcterms:modified>
</cp:coreProperties>
</file>